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sldIdLst>
    <p:sldId id="1177" r:id="rId3"/>
    <p:sldId id="1176" r:id="rId4"/>
    <p:sldId id="259" r:id="rId5"/>
    <p:sldId id="1179" r:id="rId6"/>
    <p:sldId id="1180" r:id="rId7"/>
    <p:sldId id="117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R COMPUTER" initials="SC" lastIdx="5" clrIdx="0">
    <p:extLst>
      <p:ext uri="{19B8F6BF-5375-455C-9EA6-DF929625EA0E}">
        <p15:presenceInfo xmlns:p15="http://schemas.microsoft.com/office/powerpoint/2012/main" userId="SR COMPUT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C0B8"/>
    <a:srgbClr val="002060"/>
    <a:srgbClr val="FDF6EC"/>
    <a:srgbClr val="9FADC2"/>
    <a:srgbClr val="ADB9CA"/>
    <a:srgbClr val="DEDEDE"/>
    <a:srgbClr val="D1B6BF"/>
    <a:srgbClr val="DFC7AD"/>
    <a:srgbClr val="837F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74" autoAdjust="0"/>
  </p:normalViewPr>
  <p:slideViewPr>
    <p:cSldViewPr snapToGrid="0">
      <p:cViewPr varScale="1">
        <p:scale>
          <a:sx n="63" d="100"/>
          <a:sy n="63" d="100"/>
        </p:scale>
        <p:origin x="7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A48B5-6FAC-5F50-C419-D1215009B2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0FF716-B8D4-1F81-AD3E-E96689C0B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68FBD9-36A4-EC4B-C8F7-477DAE4B0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A85A1-4133-4647-A699-AD6F898723FF}" type="datetimeFigureOut">
              <a:rPr lang="en-GB" smtClean="0"/>
              <a:t>08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6E7781-3A76-EC06-7C8B-0E9531BF3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7F5A8-B7BD-E90F-EF34-F550301EC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1C62-65A1-4CE5-A374-23A3A0ACB2C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506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CD74CC8-9D3F-09EB-0001-54AC4F54A3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55995" y="2706455"/>
            <a:ext cx="4316185" cy="3453041"/>
          </a:xfrm>
          <a:custGeom>
            <a:avLst/>
            <a:gdLst>
              <a:gd name="connsiteX0" fmla="*/ 0 w 4316185"/>
              <a:gd name="connsiteY0" fmla="*/ 0 h 2970479"/>
              <a:gd name="connsiteX1" fmla="*/ 4316185 w 4316185"/>
              <a:gd name="connsiteY1" fmla="*/ 0 h 2970479"/>
              <a:gd name="connsiteX2" fmla="*/ 4316185 w 4316185"/>
              <a:gd name="connsiteY2" fmla="*/ 2970479 h 2970479"/>
              <a:gd name="connsiteX3" fmla="*/ 0 w 4316185"/>
              <a:gd name="connsiteY3" fmla="*/ 2970479 h 2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6185" h="2970479">
                <a:moveTo>
                  <a:pt x="0" y="0"/>
                </a:moveTo>
                <a:lnTo>
                  <a:pt x="4316185" y="0"/>
                </a:lnTo>
                <a:lnTo>
                  <a:pt x="4316185" y="2970479"/>
                </a:lnTo>
                <a:lnTo>
                  <a:pt x="0" y="297047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628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068758-AEEA-4422-E2B9-4A3E964C844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734675" y="3400425"/>
            <a:ext cx="1457324" cy="2762250"/>
          </a:xfrm>
          <a:custGeom>
            <a:avLst/>
            <a:gdLst>
              <a:gd name="connsiteX0" fmla="*/ 0 w 1457324"/>
              <a:gd name="connsiteY0" fmla="*/ 0 h 2762250"/>
              <a:gd name="connsiteX1" fmla="*/ 1457324 w 1457324"/>
              <a:gd name="connsiteY1" fmla="*/ 0 h 2762250"/>
              <a:gd name="connsiteX2" fmla="*/ 1457324 w 1457324"/>
              <a:gd name="connsiteY2" fmla="*/ 2762250 h 2762250"/>
              <a:gd name="connsiteX3" fmla="*/ 0 w 1457324"/>
              <a:gd name="connsiteY3" fmla="*/ 276225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7324" h="2762250">
                <a:moveTo>
                  <a:pt x="0" y="0"/>
                </a:moveTo>
                <a:lnTo>
                  <a:pt x="1457324" y="0"/>
                </a:lnTo>
                <a:lnTo>
                  <a:pt x="1457324" y="2762250"/>
                </a:lnTo>
                <a:lnTo>
                  <a:pt x="0" y="27622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F9BA37-C7DF-FC1F-FAD0-9F14F280B7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58150" y="3397246"/>
            <a:ext cx="2419350" cy="2762250"/>
          </a:xfrm>
          <a:custGeom>
            <a:avLst/>
            <a:gdLst>
              <a:gd name="connsiteX0" fmla="*/ 0 w 2419350"/>
              <a:gd name="connsiteY0" fmla="*/ 0 h 2762250"/>
              <a:gd name="connsiteX1" fmla="*/ 2419350 w 2419350"/>
              <a:gd name="connsiteY1" fmla="*/ 0 h 2762250"/>
              <a:gd name="connsiteX2" fmla="*/ 2419350 w 2419350"/>
              <a:gd name="connsiteY2" fmla="*/ 2762250 h 2762250"/>
              <a:gd name="connsiteX3" fmla="*/ 0 w 2419350"/>
              <a:gd name="connsiteY3" fmla="*/ 276225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19350" h="2762250">
                <a:moveTo>
                  <a:pt x="0" y="0"/>
                </a:moveTo>
                <a:lnTo>
                  <a:pt x="2419350" y="0"/>
                </a:lnTo>
                <a:lnTo>
                  <a:pt x="2419350" y="2762250"/>
                </a:lnTo>
                <a:lnTo>
                  <a:pt x="0" y="27622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22A935-7F10-C78B-A50E-58FD79493D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436216" y="3397246"/>
            <a:ext cx="2667000" cy="2762250"/>
          </a:xfrm>
          <a:custGeom>
            <a:avLst/>
            <a:gdLst>
              <a:gd name="connsiteX0" fmla="*/ 0 w 2667000"/>
              <a:gd name="connsiteY0" fmla="*/ 0 h 2762250"/>
              <a:gd name="connsiteX1" fmla="*/ 2667000 w 2667000"/>
              <a:gd name="connsiteY1" fmla="*/ 0 h 2762250"/>
              <a:gd name="connsiteX2" fmla="*/ 2667000 w 2667000"/>
              <a:gd name="connsiteY2" fmla="*/ 2762250 h 2762250"/>
              <a:gd name="connsiteX3" fmla="*/ 0 w 2667000"/>
              <a:gd name="connsiteY3" fmla="*/ 276225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2762250">
                <a:moveTo>
                  <a:pt x="0" y="0"/>
                </a:moveTo>
                <a:lnTo>
                  <a:pt x="2667000" y="0"/>
                </a:lnTo>
                <a:lnTo>
                  <a:pt x="2667000" y="2762250"/>
                </a:lnTo>
                <a:lnTo>
                  <a:pt x="0" y="276225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73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00A11A-E3DC-F4F3-221F-73E3EAF5165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76925" y="2592661"/>
            <a:ext cx="2667000" cy="3571875"/>
          </a:xfrm>
          <a:custGeom>
            <a:avLst/>
            <a:gdLst>
              <a:gd name="connsiteX0" fmla="*/ 0 w 2667000"/>
              <a:gd name="connsiteY0" fmla="*/ 0 h 3571875"/>
              <a:gd name="connsiteX1" fmla="*/ 2667000 w 2667000"/>
              <a:gd name="connsiteY1" fmla="*/ 0 h 3571875"/>
              <a:gd name="connsiteX2" fmla="*/ 2667000 w 2667000"/>
              <a:gd name="connsiteY2" fmla="*/ 3571875 h 3571875"/>
              <a:gd name="connsiteX3" fmla="*/ 0 w 2667000"/>
              <a:gd name="connsiteY3" fmla="*/ 3571875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3571875">
                <a:moveTo>
                  <a:pt x="0" y="0"/>
                </a:moveTo>
                <a:lnTo>
                  <a:pt x="2667000" y="0"/>
                </a:lnTo>
                <a:lnTo>
                  <a:pt x="2667000" y="3571875"/>
                </a:lnTo>
                <a:lnTo>
                  <a:pt x="0" y="35718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2047B1-24BC-D9A0-FE99-D565D68715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43950" y="3830912"/>
            <a:ext cx="2743200" cy="2333624"/>
          </a:xfrm>
          <a:custGeom>
            <a:avLst/>
            <a:gdLst>
              <a:gd name="connsiteX0" fmla="*/ 0 w 2743200"/>
              <a:gd name="connsiteY0" fmla="*/ 0 h 2333624"/>
              <a:gd name="connsiteX1" fmla="*/ 2743200 w 2743200"/>
              <a:gd name="connsiteY1" fmla="*/ 0 h 2333624"/>
              <a:gd name="connsiteX2" fmla="*/ 2743200 w 2743200"/>
              <a:gd name="connsiteY2" fmla="*/ 2333624 h 2333624"/>
              <a:gd name="connsiteX3" fmla="*/ 0 w 2743200"/>
              <a:gd name="connsiteY3" fmla="*/ 2333624 h 2333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3200" h="2333624">
                <a:moveTo>
                  <a:pt x="0" y="0"/>
                </a:moveTo>
                <a:lnTo>
                  <a:pt x="2743200" y="0"/>
                </a:lnTo>
                <a:lnTo>
                  <a:pt x="2743200" y="2333624"/>
                </a:lnTo>
                <a:lnTo>
                  <a:pt x="0" y="233362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6620BCC-6EBC-FCAB-3507-B072586C05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3950" y="1249637"/>
            <a:ext cx="2743200" cy="2428875"/>
          </a:xfrm>
          <a:custGeom>
            <a:avLst/>
            <a:gdLst>
              <a:gd name="connsiteX0" fmla="*/ 0 w 2743200"/>
              <a:gd name="connsiteY0" fmla="*/ 0 h 2428875"/>
              <a:gd name="connsiteX1" fmla="*/ 2743200 w 2743200"/>
              <a:gd name="connsiteY1" fmla="*/ 0 h 2428875"/>
              <a:gd name="connsiteX2" fmla="*/ 2743200 w 2743200"/>
              <a:gd name="connsiteY2" fmla="*/ 2428875 h 2428875"/>
              <a:gd name="connsiteX3" fmla="*/ 0 w 2743200"/>
              <a:gd name="connsiteY3" fmla="*/ 2428875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43200" h="2428875">
                <a:moveTo>
                  <a:pt x="0" y="0"/>
                </a:moveTo>
                <a:lnTo>
                  <a:pt x="2743200" y="0"/>
                </a:lnTo>
                <a:lnTo>
                  <a:pt x="2743200" y="2428875"/>
                </a:lnTo>
                <a:lnTo>
                  <a:pt x="0" y="24288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3461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BDA03BA-1E93-E6DD-67D0-FBDE2D47CC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70452" y="2838452"/>
            <a:ext cx="2736607" cy="3321045"/>
          </a:xfrm>
          <a:custGeom>
            <a:avLst/>
            <a:gdLst>
              <a:gd name="connsiteX0" fmla="*/ 0 w 2736607"/>
              <a:gd name="connsiteY0" fmla="*/ 0 h 3321045"/>
              <a:gd name="connsiteX1" fmla="*/ 2736607 w 2736607"/>
              <a:gd name="connsiteY1" fmla="*/ 0 h 3321045"/>
              <a:gd name="connsiteX2" fmla="*/ 2736607 w 2736607"/>
              <a:gd name="connsiteY2" fmla="*/ 3321045 h 3321045"/>
              <a:gd name="connsiteX3" fmla="*/ 0 w 2736607"/>
              <a:gd name="connsiteY3" fmla="*/ 3321045 h 332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6607" h="3321045">
                <a:moveTo>
                  <a:pt x="0" y="0"/>
                </a:moveTo>
                <a:lnTo>
                  <a:pt x="2736607" y="0"/>
                </a:lnTo>
                <a:lnTo>
                  <a:pt x="2736607" y="3321045"/>
                </a:lnTo>
                <a:lnTo>
                  <a:pt x="0" y="332104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BC3282-B068-3A7A-3FB2-C2FF611E02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03411" y="3668987"/>
            <a:ext cx="2524119" cy="2490510"/>
          </a:xfrm>
          <a:custGeom>
            <a:avLst/>
            <a:gdLst>
              <a:gd name="connsiteX0" fmla="*/ 0 w 2524119"/>
              <a:gd name="connsiteY0" fmla="*/ 0 h 2490510"/>
              <a:gd name="connsiteX1" fmla="*/ 2524119 w 2524119"/>
              <a:gd name="connsiteY1" fmla="*/ 0 h 2490510"/>
              <a:gd name="connsiteX2" fmla="*/ 2524119 w 2524119"/>
              <a:gd name="connsiteY2" fmla="*/ 2490510 h 2490510"/>
              <a:gd name="connsiteX3" fmla="*/ 0 w 2524119"/>
              <a:gd name="connsiteY3" fmla="*/ 2490510 h 2490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4119" h="2490510">
                <a:moveTo>
                  <a:pt x="0" y="0"/>
                </a:moveTo>
                <a:lnTo>
                  <a:pt x="2524119" y="0"/>
                </a:lnTo>
                <a:lnTo>
                  <a:pt x="2524119" y="2490510"/>
                </a:lnTo>
                <a:lnTo>
                  <a:pt x="0" y="249051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517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345F594-3B68-2749-5396-73C4D36847B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5076" y="1962937"/>
            <a:ext cx="4049621" cy="4196554"/>
          </a:xfrm>
          <a:custGeom>
            <a:avLst/>
            <a:gdLst>
              <a:gd name="connsiteX0" fmla="*/ 0 w 4049621"/>
              <a:gd name="connsiteY0" fmla="*/ 0 h 4196554"/>
              <a:gd name="connsiteX1" fmla="*/ 4049621 w 4049621"/>
              <a:gd name="connsiteY1" fmla="*/ 0 h 4196554"/>
              <a:gd name="connsiteX2" fmla="*/ 4049621 w 4049621"/>
              <a:gd name="connsiteY2" fmla="*/ 4196554 h 4196554"/>
              <a:gd name="connsiteX3" fmla="*/ 0 w 4049621"/>
              <a:gd name="connsiteY3" fmla="*/ 4196554 h 4196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9621" h="4196554">
                <a:moveTo>
                  <a:pt x="0" y="0"/>
                </a:moveTo>
                <a:lnTo>
                  <a:pt x="4049621" y="0"/>
                </a:lnTo>
                <a:lnTo>
                  <a:pt x="4049621" y="4196554"/>
                </a:lnTo>
                <a:lnTo>
                  <a:pt x="0" y="419655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02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376BD2B-CCD5-4672-EF87-28E4B80F8E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10251" y="1055446"/>
            <a:ext cx="4257673" cy="5104985"/>
          </a:xfrm>
          <a:custGeom>
            <a:avLst/>
            <a:gdLst>
              <a:gd name="connsiteX0" fmla="*/ 0 w 4257673"/>
              <a:gd name="connsiteY0" fmla="*/ 0 h 5104985"/>
              <a:gd name="connsiteX1" fmla="*/ 4257673 w 4257673"/>
              <a:gd name="connsiteY1" fmla="*/ 0 h 5104985"/>
              <a:gd name="connsiteX2" fmla="*/ 4257673 w 4257673"/>
              <a:gd name="connsiteY2" fmla="*/ 5104985 h 5104985"/>
              <a:gd name="connsiteX3" fmla="*/ 0 w 4257673"/>
              <a:gd name="connsiteY3" fmla="*/ 5104985 h 5104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7673" h="5104985">
                <a:moveTo>
                  <a:pt x="0" y="0"/>
                </a:moveTo>
                <a:lnTo>
                  <a:pt x="4257673" y="0"/>
                </a:lnTo>
                <a:lnTo>
                  <a:pt x="4257673" y="5104985"/>
                </a:lnTo>
                <a:lnTo>
                  <a:pt x="0" y="510498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490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214D2FE-C3FF-160D-AE8E-8E75BACBD9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72527" y="3076575"/>
            <a:ext cx="2714623" cy="3082921"/>
          </a:xfrm>
          <a:custGeom>
            <a:avLst/>
            <a:gdLst>
              <a:gd name="connsiteX0" fmla="*/ 0 w 2714623"/>
              <a:gd name="connsiteY0" fmla="*/ 0 h 3082921"/>
              <a:gd name="connsiteX1" fmla="*/ 2714623 w 2714623"/>
              <a:gd name="connsiteY1" fmla="*/ 0 h 3082921"/>
              <a:gd name="connsiteX2" fmla="*/ 2714623 w 2714623"/>
              <a:gd name="connsiteY2" fmla="*/ 3082921 h 3082921"/>
              <a:gd name="connsiteX3" fmla="*/ 0 w 2714623"/>
              <a:gd name="connsiteY3" fmla="*/ 3082921 h 3082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4623" h="3082921">
                <a:moveTo>
                  <a:pt x="0" y="0"/>
                </a:moveTo>
                <a:lnTo>
                  <a:pt x="2714623" y="0"/>
                </a:lnTo>
                <a:lnTo>
                  <a:pt x="2714623" y="3082921"/>
                </a:lnTo>
                <a:lnTo>
                  <a:pt x="0" y="308292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8C4F454-CE99-07EB-9C08-38CECA96D6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1155" y="1733553"/>
            <a:ext cx="3105698" cy="4425944"/>
          </a:xfrm>
          <a:custGeom>
            <a:avLst/>
            <a:gdLst>
              <a:gd name="connsiteX0" fmla="*/ 0 w 3105698"/>
              <a:gd name="connsiteY0" fmla="*/ 0 h 4425944"/>
              <a:gd name="connsiteX1" fmla="*/ 3105698 w 3105698"/>
              <a:gd name="connsiteY1" fmla="*/ 0 h 4425944"/>
              <a:gd name="connsiteX2" fmla="*/ 3105698 w 3105698"/>
              <a:gd name="connsiteY2" fmla="*/ 4425944 h 4425944"/>
              <a:gd name="connsiteX3" fmla="*/ 0 w 3105698"/>
              <a:gd name="connsiteY3" fmla="*/ 4425944 h 44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5698" h="4425944">
                <a:moveTo>
                  <a:pt x="0" y="0"/>
                </a:moveTo>
                <a:lnTo>
                  <a:pt x="3105698" y="0"/>
                </a:lnTo>
                <a:lnTo>
                  <a:pt x="3105698" y="4425944"/>
                </a:lnTo>
                <a:lnTo>
                  <a:pt x="0" y="442594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12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A28D885-6766-E0DB-BC80-B4AF11188B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87972" y="2953887"/>
            <a:ext cx="2201708" cy="1944717"/>
          </a:xfrm>
          <a:custGeom>
            <a:avLst/>
            <a:gdLst>
              <a:gd name="connsiteX0" fmla="*/ 0 w 2201708"/>
              <a:gd name="connsiteY0" fmla="*/ 0 h 1944717"/>
              <a:gd name="connsiteX1" fmla="*/ 2201708 w 2201708"/>
              <a:gd name="connsiteY1" fmla="*/ 0 h 1944717"/>
              <a:gd name="connsiteX2" fmla="*/ 2201708 w 2201708"/>
              <a:gd name="connsiteY2" fmla="*/ 1944717 h 1944717"/>
              <a:gd name="connsiteX3" fmla="*/ 0 w 2201708"/>
              <a:gd name="connsiteY3" fmla="*/ 1944717 h 194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708" h="1944717">
                <a:moveTo>
                  <a:pt x="0" y="0"/>
                </a:moveTo>
                <a:lnTo>
                  <a:pt x="2201708" y="0"/>
                </a:lnTo>
                <a:lnTo>
                  <a:pt x="2201708" y="1944717"/>
                </a:lnTo>
                <a:lnTo>
                  <a:pt x="0" y="194471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55DC20A-A9BA-E4FD-4301-6A6F852927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32942" y="2953886"/>
            <a:ext cx="2201708" cy="1944717"/>
          </a:xfrm>
          <a:custGeom>
            <a:avLst/>
            <a:gdLst>
              <a:gd name="connsiteX0" fmla="*/ 0 w 2201708"/>
              <a:gd name="connsiteY0" fmla="*/ 0 h 1944717"/>
              <a:gd name="connsiteX1" fmla="*/ 2201708 w 2201708"/>
              <a:gd name="connsiteY1" fmla="*/ 0 h 1944717"/>
              <a:gd name="connsiteX2" fmla="*/ 2201708 w 2201708"/>
              <a:gd name="connsiteY2" fmla="*/ 1944717 h 1944717"/>
              <a:gd name="connsiteX3" fmla="*/ 0 w 2201708"/>
              <a:gd name="connsiteY3" fmla="*/ 1944717 h 194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708" h="1944717">
                <a:moveTo>
                  <a:pt x="0" y="0"/>
                </a:moveTo>
                <a:lnTo>
                  <a:pt x="2201708" y="0"/>
                </a:lnTo>
                <a:lnTo>
                  <a:pt x="2201708" y="1944717"/>
                </a:lnTo>
                <a:lnTo>
                  <a:pt x="0" y="194471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A23F5C-A6C5-0F12-94E8-D535A0BC38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87436" y="2953886"/>
            <a:ext cx="2201708" cy="1944717"/>
          </a:xfrm>
          <a:custGeom>
            <a:avLst/>
            <a:gdLst>
              <a:gd name="connsiteX0" fmla="*/ 0 w 2201708"/>
              <a:gd name="connsiteY0" fmla="*/ 0 h 1944717"/>
              <a:gd name="connsiteX1" fmla="*/ 2201708 w 2201708"/>
              <a:gd name="connsiteY1" fmla="*/ 0 h 1944717"/>
              <a:gd name="connsiteX2" fmla="*/ 2201708 w 2201708"/>
              <a:gd name="connsiteY2" fmla="*/ 1944717 h 1944717"/>
              <a:gd name="connsiteX3" fmla="*/ 0 w 2201708"/>
              <a:gd name="connsiteY3" fmla="*/ 1944717 h 194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708" h="1944717">
                <a:moveTo>
                  <a:pt x="0" y="0"/>
                </a:moveTo>
                <a:lnTo>
                  <a:pt x="2201708" y="0"/>
                </a:lnTo>
                <a:lnTo>
                  <a:pt x="2201708" y="1944717"/>
                </a:lnTo>
                <a:lnTo>
                  <a:pt x="0" y="194471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2AA4660-D65A-A2F2-7477-B2758B181B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32067" y="2953886"/>
            <a:ext cx="2201708" cy="1944717"/>
          </a:xfrm>
          <a:custGeom>
            <a:avLst/>
            <a:gdLst>
              <a:gd name="connsiteX0" fmla="*/ 0 w 2201708"/>
              <a:gd name="connsiteY0" fmla="*/ 0 h 1944717"/>
              <a:gd name="connsiteX1" fmla="*/ 2201708 w 2201708"/>
              <a:gd name="connsiteY1" fmla="*/ 0 h 1944717"/>
              <a:gd name="connsiteX2" fmla="*/ 2201708 w 2201708"/>
              <a:gd name="connsiteY2" fmla="*/ 1944717 h 1944717"/>
              <a:gd name="connsiteX3" fmla="*/ 0 w 2201708"/>
              <a:gd name="connsiteY3" fmla="*/ 1944717 h 194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1708" h="1944717">
                <a:moveTo>
                  <a:pt x="0" y="0"/>
                </a:moveTo>
                <a:lnTo>
                  <a:pt x="2201708" y="0"/>
                </a:lnTo>
                <a:lnTo>
                  <a:pt x="2201708" y="1944717"/>
                </a:lnTo>
                <a:lnTo>
                  <a:pt x="0" y="194471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6754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5E5B52C-2E78-6E4F-A594-6D360ECE98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65002" y="698501"/>
            <a:ext cx="5122149" cy="3968747"/>
          </a:xfrm>
          <a:custGeom>
            <a:avLst/>
            <a:gdLst>
              <a:gd name="connsiteX0" fmla="*/ 0 w 5122149"/>
              <a:gd name="connsiteY0" fmla="*/ 0 h 3968747"/>
              <a:gd name="connsiteX1" fmla="*/ 5122149 w 5122149"/>
              <a:gd name="connsiteY1" fmla="*/ 0 h 3968747"/>
              <a:gd name="connsiteX2" fmla="*/ 5122149 w 5122149"/>
              <a:gd name="connsiteY2" fmla="*/ 3968747 h 3968747"/>
              <a:gd name="connsiteX3" fmla="*/ 0 w 5122149"/>
              <a:gd name="connsiteY3" fmla="*/ 3968747 h 396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2149" h="3968747">
                <a:moveTo>
                  <a:pt x="0" y="0"/>
                </a:moveTo>
                <a:lnTo>
                  <a:pt x="5122149" y="0"/>
                </a:lnTo>
                <a:lnTo>
                  <a:pt x="5122149" y="3968747"/>
                </a:lnTo>
                <a:lnTo>
                  <a:pt x="0" y="396874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05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17637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8351046-85CA-65E1-BCA4-5892E475A92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1" y="3434187"/>
            <a:ext cx="2505075" cy="2735884"/>
          </a:xfrm>
          <a:custGeom>
            <a:avLst/>
            <a:gdLst>
              <a:gd name="connsiteX0" fmla="*/ 0 w 2505075"/>
              <a:gd name="connsiteY0" fmla="*/ 0 h 2735884"/>
              <a:gd name="connsiteX1" fmla="*/ 2505075 w 2505075"/>
              <a:gd name="connsiteY1" fmla="*/ 0 h 2735884"/>
              <a:gd name="connsiteX2" fmla="*/ 2505075 w 2505075"/>
              <a:gd name="connsiteY2" fmla="*/ 2735884 h 2735884"/>
              <a:gd name="connsiteX3" fmla="*/ 0 w 2505075"/>
              <a:gd name="connsiteY3" fmla="*/ 2735884 h 273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05075" h="2735884">
                <a:moveTo>
                  <a:pt x="0" y="0"/>
                </a:moveTo>
                <a:lnTo>
                  <a:pt x="2505075" y="0"/>
                </a:lnTo>
                <a:lnTo>
                  <a:pt x="2505075" y="2735884"/>
                </a:lnTo>
                <a:lnTo>
                  <a:pt x="0" y="273588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F5823BA-610E-6887-37FE-8B2DB25A6E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15318" y="3463433"/>
            <a:ext cx="2505075" cy="2712576"/>
          </a:xfrm>
          <a:custGeom>
            <a:avLst/>
            <a:gdLst>
              <a:gd name="connsiteX0" fmla="*/ 0 w 2505075"/>
              <a:gd name="connsiteY0" fmla="*/ 0 h 2712576"/>
              <a:gd name="connsiteX1" fmla="*/ 2505075 w 2505075"/>
              <a:gd name="connsiteY1" fmla="*/ 0 h 2712576"/>
              <a:gd name="connsiteX2" fmla="*/ 2505075 w 2505075"/>
              <a:gd name="connsiteY2" fmla="*/ 2712576 h 2712576"/>
              <a:gd name="connsiteX3" fmla="*/ 0 w 2505075"/>
              <a:gd name="connsiteY3" fmla="*/ 2712576 h 2712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05075" h="2712576">
                <a:moveTo>
                  <a:pt x="0" y="0"/>
                </a:moveTo>
                <a:lnTo>
                  <a:pt x="2505075" y="0"/>
                </a:lnTo>
                <a:lnTo>
                  <a:pt x="2505075" y="2712576"/>
                </a:lnTo>
                <a:lnTo>
                  <a:pt x="0" y="2712576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00F8C7C-9C48-26A6-2A25-80B03526DB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808172" y="3437585"/>
            <a:ext cx="2505075" cy="2724230"/>
          </a:xfrm>
          <a:custGeom>
            <a:avLst/>
            <a:gdLst>
              <a:gd name="connsiteX0" fmla="*/ 0 w 2505075"/>
              <a:gd name="connsiteY0" fmla="*/ 0 h 2724230"/>
              <a:gd name="connsiteX1" fmla="*/ 2505075 w 2505075"/>
              <a:gd name="connsiteY1" fmla="*/ 0 h 2724230"/>
              <a:gd name="connsiteX2" fmla="*/ 2505075 w 2505075"/>
              <a:gd name="connsiteY2" fmla="*/ 2724230 h 2724230"/>
              <a:gd name="connsiteX3" fmla="*/ 0 w 2505075"/>
              <a:gd name="connsiteY3" fmla="*/ 2724230 h 2724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05075" h="2724230">
                <a:moveTo>
                  <a:pt x="0" y="0"/>
                </a:moveTo>
                <a:lnTo>
                  <a:pt x="2505075" y="0"/>
                </a:lnTo>
                <a:lnTo>
                  <a:pt x="2505075" y="2724230"/>
                </a:lnTo>
                <a:lnTo>
                  <a:pt x="0" y="272423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9125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1AFA69-4864-EF90-F37B-7B1994FAB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2FFC0-5E75-4201-7376-80D1D4E261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04C6D1-E8F0-800C-F89C-0452AEC4F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A85A1-4133-4647-A699-AD6F898723FF}" type="datetimeFigureOut">
              <a:rPr lang="en-GB" smtClean="0"/>
              <a:t>08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9D0125-A0C7-CB02-0845-9C1F544DD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9F2030-5AAD-8D9F-68DC-0CE3E00D2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CE1C62-65A1-4CE5-A374-23A3A0ACB2C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538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D988979-2142-98ED-5C72-C1B2E1EA02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43225" y="3130399"/>
            <a:ext cx="4623990" cy="3030631"/>
          </a:xfrm>
          <a:custGeom>
            <a:avLst/>
            <a:gdLst>
              <a:gd name="connsiteX0" fmla="*/ 0 w 4623990"/>
              <a:gd name="connsiteY0" fmla="*/ 0 h 3030631"/>
              <a:gd name="connsiteX1" fmla="*/ 4118875 w 4623990"/>
              <a:gd name="connsiteY1" fmla="*/ 0 h 3030631"/>
              <a:gd name="connsiteX2" fmla="*/ 4623990 w 4623990"/>
              <a:gd name="connsiteY2" fmla="*/ 505115 h 3030631"/>
              <a:gd name="connsiteX3" fmla="*/ 4623990 w 4623990"/>
              <a:gd name="connsiteY3" fmla="*/ 3030631 h 3030631"/>
              <a:gd name="connsiteX4" fmla="*/ 0 w 4623990"/>
              <a:gd name="connsiteY4" fmla="*/ 3030631 h 303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3990" h="3030631">
                <a:moveTo>
                  <a:pt x="0" y="0"/>
                </a:moveTo>
                <a:lnTo>
                  <a:pt x="4118875" y="0"/>
                </a:lnTo>
                <a:lnTo>
                  <a:pt x="4623990" y="505115"/>
                </a:lnTo>
                <a:lnTo>
                  <a:pt x="4623990" y="3030631"/>
                </a:lnTo>
                <a:lnTo>
                  <a:pt x="0" y="303063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7272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4D46345-AA5E-24B5-0C72-DDC2B4C0305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25123" y="2639105"/>
            <a:ext cx="2766703" cy="3520391"/>
          </a:xfrm>
          <a:custGeom>
            <a:avLst/>
            <a:gdLst>
              <a:gd name="connsiteX0" fmla="*/ 0 w 2766703"/>
              <a:gd name="connsiteY0" fmla="*/ 0 h 3520391"/>
              <a:gd name="connsiteX1" fmla="*/ 2766703 w 2766703"/>
              <a:gd name="connsiteY1" fmla="*/ 0 h 3520391"/>
              <a:gd name="connsiteX2" fmla="*/ 2766703 w 2766703"/>
              <a:gd name="connsiteY2" fmla="*/ 3520391 h 3520391"/>
              <a:gd name="connsiteX3" fmla="*/ 0 w 2766703"/>
              <a:gd name="connsiteY3" fmla="*/ 3520391 h 352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6703" h="3520391">
                <a:moveTo>
                  <a:pt x="0" y="0"/>
                </a:moveTo>
                <a:lnTo>
                  <a:pt x="2766703" y="0"/>
                </a:lnTo>
                <a:lnTo>
                  <a:pt x="2766703" y="3520391"/>
                </a:lnTo>
                <a:lnTo>
                  <a:pt x="0" y="352039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2E5CBC-B05F-774E-2463-556C02BFEB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22510" y="2639106"/>
            <a:ext cx="2766703" cy="3520391"/>
          </a:xfrm>
          <a:custGeom>
            <a:avLst/>
            <a:gdLst>
              <a:gd name="connsiteX0" fmla="*/ 0 w 2766703"/>
              <a:gd name="connsiteY0" fmla="*/ 0 h 3520391"/>
              <a:gd name="connsiteX1" fmla="*/ 2766703 w 2766703"/>
              <a:gd name="connsiteY1" fmla="*/ 0 h 3520391"/>
              <a:gd name="connsiteX2" fmla="*/ 2766703 w 2766703"/>
              <a:gd name="connsiteY2" fmla="*/ 3520391 h 3520391"/>
              <a:gd name="connsiteX3" fmla="*/ 0 w 2766703"/>
              <a:gd name="connsiteY3" fmla="*/ 3520391 h 352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6703" h="3520391">
                <a:moveTo>
                  <a:pt x="0" y="0"/>
                </a:moveTo>
                <a:lnTo>
                  <a:pt x="2766703" y="0"/>
                </a:lnTo>
                <a:lnTo>
                  <a:pt x="2766703" y="3520391"/>
                </a:lnTo>
                <a:lnTo>
                  <a:pt x="0" y="352039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07818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13ADA3B-610D-F56A-E18C-EDC08EB0C1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05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7005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33656B3-6184-EC3F-AAE1-D5F504A570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17231" y="702443"/>
            <a:ext cx="3683382" cy="2463649"/>
          </a:xfrm>
          <a:custGeom>
            <a:avLst/>
            <a:gdLst>
              <a:gd name="connsiteX0" fmla="*/ 0 w 3683382"/>
              <a:gd name="connsiteY0" fmla="*/ 0 h 2463649"/>
              <a:gd name="connsiteX1" fmla="*/ 3683382 w 3683382"/>
              <a:gd name="connsiteY1" fmla="*/ 0 h 2463649"/>
              <a:gd name="connsiteX2" fmla="*/ 3683382 w 3683382"/>
              <a:gd name="connsiteY2" fmla="*/ 2463649 h 2463649"/>
              <a:gd name="connsiteX3" fmla="*/ 0 w 3683382"/>
              <a:gd name="connsiteY3" fmla="*/ 2463649 h 2463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83382" h="2463649">
                <a:moveTo>
                  <a:pt x="0" y="0"/>
                </a:moveTo>
                <a:lnTo>
                  <a:pt x="3683382" y="0"/>
                </a:lnTo>
                <a:lnTo>
                  <a:pt x="3683382" y="2463649"/>
                </a:lnTo>
                <a:lnTo>
                  <a:pt x="0" y="246364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EA6D721-5F1C-F20E-5301-F3BFB5A3C5B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34269" y="3825128"/>
            <a:ext cx="2464213" cy="2334368"/>
          </a:xfrm>
          <a:custGeom>
            <a:avLst/>
            <a:gdLst>
              <a:gd name="connsiteX0" fmla="*/ 0 w 2464213"/>
              <a:gd name="connsiteY0" fmla="*/ 0 h 2334368"/>
              <a:gd name="connsiteX1" fmla="*/ 2464213 w 2464213"/>
              <a:gd name="connsiteY1" fmla="*/ 0 h 2334368"/>
              <a:gd name="connsiteX2" fmla="*/ 2464213 w 2464213"/>
              <a:gd name="connsiteY2" fmla="*/ 2334368 h 2334368"/>
              <a:gd name="connsiteX3" fmla="*/ 0 w 2464213"/>
              <a:gd name="connsiteY3" fmla="*/ 2334368 h 2334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4213" h="2334368">
                <a:moveTo>
                  <a:pt x="0" y="0"/>
                </a:moveTo>
                <a:lnTo>
                  <a:pt x="2464213" y="0"/>
                </a:lnTo>
                <a:lnTo>
                  <a:pt x="2464213" y="2334368"/>
                </a:lnTo>
                <a:lnTo>
                  <a:pt x="0" y="233436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C67F3AA-8307-4D49-54A5-2DA58F0F1E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17260" y="3825128"/>
            <a:ext cx="2464213" cy="2334368"/>
          </a:xfrm>
          <a:custGeom>
            <a:avLst/>
            <a:gdLst>
              <a:gd name="connsiteX0" fmla="*/ 0 w 2464213"/>
              <a:gd name="connsiteY0" fmla="*/ 0 h 2334368"/>
              <a:gd name="connsiteX1" fmla="*/ 2464213 w 2464213"/>
              <a:gd name="connsiteY1" fmla="*/ 0 h 2334368"/>
              <a:gd name="connsiteX2" fmla="*/ 2464213 w 2464213"/>
              <a:gd name="connsiteY2" fmla="*/ 2334368 h 2334368"/>
              <a:gd name="connsiteX3" fmla="*/ 0 w 2464213"/>
              <a:gd name="connsiteY3" fmla="*/ 2334368 h 2334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4213" h="2334368">
                <a:moveTo>
                  <a:pt x="0" y="0"/>
                </a:moveTo>
                <a:lnTo>
                  <a:pt x="2464213" y="0"/>
                </a:lnTo>
                <a:lnTo>
                  <a:pt x="2464213" y="2334368"/>
                </a:lnTo>
                <a:lnTo>
                  <a:pt x="0" y="233436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30366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8DA8D3F-D74E-72CA-7F28-7E50B86A78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29701" y="3730619"/>
            <a:ext cx="2467852" cy="2428875"/>
          </a:xfrm>
          <a:custGeom>
            <a:avLst/>
            <a:gdLst>
              <a:gd name="connsiteX0" fmla="*/ 0 w 2467852"/>
              <a:gd name="connsiteY0" fmla="*/ 0 h 2428875"/>
              <a:gd name="connsiteX1" fmla="*/ 2467852 w 2467852"/>
              <a:gd name="connsiteY1" fmla="*/ 0 h 2428875"/>
              <a:gd name="connsiteX2" fmla="*/ 2467852 w 2467852"/>
              <a:gd name="connsiteY2" fmla="*/ 2428875 h 2428875"/>
              <a:gd name="connsiteX3" fmla="*/ 0 w 2467852"/>
              <a:gd name="connsiteY3" fmla="*/ 2428875 h 2428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7852" h="2428875">
                <a:moveTo>
                  <a:pt x="0" y="0"/>
                </a:moveTo>
                <a:lnTo>
                  <a:pt x="2467852" y="0"/>
                </a:lnTo>
                <a:lnTo>
                  <a:pt x="2467852" y="2428875"/>
                </a:lnTo>
                <a:lnTo>
                  <a:pt x="0" y="24288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108660F-6E69-4A76-CC7C-6CE5DEB728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3287" y="1076325"/>
            <a:ext cx="3333736" cy="5083170"/>
          </a:xfrm>
          <a:custGeom>
            <a:avLst/>
            <a:gdLst>
              <a:gd name="connsiteX0" fmla="*/ 0 w 3333736"/>
              <a:gd name="connsiteY0" fmla="*/ 0 h 5083170"/>
              <a:gd name="connsiteX1" fmla="*/ 3333736 w 3333736"/>
              <a:gd name="connsiteY1" fmla="*/ 0 h 5083170"/>
              <a:gd name="connsiteX2" fmla="*/ 3333736 w 3333736"/>
              <a:gd name="connsiteY2" fmla="*/ 5083170 h 5083170"/>
              <a:gd name="connsiteX3" fmla="*/ 0 w 3333736"/>
              <a:gd name="connsiteY3" fmla="*/ 5083170 h 5083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3736" h="5083170">
                <a:moveTo>
                  <a:pt x="0" y="0"/>
                </a:moveTo>
                <a:lnTo>
                  <a:pt x="3333736" y="0"/>
                </a:lnTo>
                <a:lnTo>
                  <a:pt x="3333736" y="5083170"/>
                </a:lnTo>
                <a:lnTo>
                  <a:pt x="0" y="508317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949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0A867F5-ED83-2456-57C6-CAC5B8BB35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91275" y="2562225"/>
            <a:ext cx="5095871" cy="3597267"/>
          </a:xfrm>
          <a:custGeom>
            <a:avLst/>
            <a:gdLst>
              <a:gd name="connsiteX0" fmla="*/ 0 w 5095871"/>
              <a:gd name="connsiteY0" fmla="*/ 0 h 3597267"/>
              <a:gd name="connsiteX1" fmla="*/ 5095871 w 5095871"/>
              <a:gd name="connsiteY1" fmla="*/ 0 h 3597267"/>
              <a:gd name="connsiteX2" fmla="*/ 5095871 w 5095871"/>
              <a:gd name="connsiteY2" fmla="*/ 3597267 h 3597267"/>
              <a:gd name="connsiteX3" fmla="*/ 0 w 5095871"/>
              <a:gd name="connsiteY3" fmla="*/ 3597267 h 3597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95871" h="3597267">
                <a:moveTo>
                  <a:pt x="0" y="0"/>
                </a:moveTo>
                <a:lnTo>
                  <a:pt x="5095871" y="0"/>
                </a:lnTo>
                <a:lnTo>
                  <a:pt x="5095871" y="3597267"/>
                </a:lnTo>
                <a:lnTo>
                  <a:pt x="0" y="359726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864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F38EF93-4042-78C3-C5C8-DBFF901049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62404" y="0"/>
            <a:ext cx="7867195" cy="1778000"/>
          </a:xfrm>
          <a:custGeom>
            <a:avLst/>
            <a:gdLst>
              <a:gd name="connsiteX0" fmla="*/ 0 w 7867195"/>
              <a:gd name="connsiteY0" fmla="*/ 0 h 1778000"/>
              <a:gd name="connsiteX1" fmla="*/ 7867195 w 7867195"/>
              <a:gd name="connsiteY1" fmla="*/ 0 h 1778000"/>
              <a:gd name="connsiteX2" fmla="*/ 7867195 w 7867195"/>
              <a:gd name="connsiteY2" fmla="*/ 1778000 h 1778000"/>
              <a:gd name="connsiteX3" fmla="*/ 0 w 7867195"/>
              <a:gd name="connsiteY3" fmla="*/ 1778000 h 177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67195" h="1778000">
                <a:moveTo>
                  <a:pt x="0" y="0"/>
                </a:moveTo>
                <a:lnTo>
                  <a:pt x="7867195" y="0"/>
                </a:lnTo>
                <a:lnTo>
                  <a:pt x="7867195" y="1778000"/>
                </a:lnTo>
                <a:lnTo>
                  <a:pt x="0" y="177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82150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23148-ABA5-4B00-B76B-EB75BEB00B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B44826-DB10-4836-98F6-CF49039905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32FD72-7532-400A-9DFE-5CD51D1651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9B55FE-91DD-4CB9-B14E-F0188C79A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76BC63-94D6-4415-8B3C-4A452F660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8892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8BF44-CFC9-4B00-9B3C-4370FC3BB2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55622C-FC2C-4290-BE8F-8AD43F47A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095A80-2FC4-42C6-977D-862118CAD7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7442F-A1C8-42F4-B5C1-B45F26E87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ECD8A-EFD1-456A-83E6-A1C575C7E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8001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9D556-9D30-40B1-A253-3B83419A8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95911B-7E1D-4FD9-A29A-A8455DF060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C06014-C7D9-4460-82D8-E0FFB634BE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D04DAB-60DA-4A10-ACAC-459071DE0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E4CD84-1690-472D-AA8E-368CD10E4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7720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5C8D3C1-C8C3-C608-06F7-6F35DFA382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076825" cy="6858000"/>
          </a:xfrm>
          <a:custGeom>
            <a:avLst/>
            <a:gdLst>
              <a:gd name="connsiteX0" fmla="*/ 0 w 5076825"/>
              <a:gd name="connsiteY0" fmla="*/ 0 h 6858000"/>
              <a:gd name="connsiteX1" fmla="*/ 5076825 w 5076825"/>
              <a:gd name="connsiteY1" fmla="*/ 0 h 6858000"/>
              <a:gd name="connsiteX2" fmla="*/ 5076825 w 5076825"/>
              <a:gd name="connsiteY2" fmla="*/ 6858000 h 6858000"/>
              <a:gd name="connsiteX3" fmla="*/ 0 w 5076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6825" h="6858000">
                <a:moveTo>
                  <a:pt x="0" y="0"/>
                </a:moveTo>
                <a:lnTo>
                  <a:pt x="5076825" y="0"/>
                </a:lnTo>
                <a:lnTo>
                  <a:pt x="5076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05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07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838C9B-BC35-453F-A9AF-1EEDC325C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B3188-B09C-46D0-AA5D-EFAC3D1601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F5D74-A4E3-43F8-92E6-49C52F5477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95494D-A39B-43A6-91F7-EF1455656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88B614-ABE0-4860-954B-7DF1D72D7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84C13-9FDA-435D-8871-5BD0F0389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9413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A3441-93CF-4DC9-B621-129A0C8A6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ED657E-3199-41F4-AFEF-834F231935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FAFE44-D180-46F4-BBCB-DCF968480C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69188A-9C41-4D4C-85E5-B74601B5B2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0AC6F1-C0EE-4241-B95B-44BDF3187A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E30196-C934-44CD-B540-8326CBAD6E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A9B5C6-EFB4-4C2B-A1BA-AE9B31C50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93DB5B-E098-4912-BF31-44F2ADD30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2830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2EB43-01F3-4283-BA8D-9689271115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829739-63D4-4260-AFA8-FE40C98CAF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D1A13F-5851-41D8-90BF-AC6D80D01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75F92-DC52-41C7-8BAD-E394B3E9C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7722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B61973-BDCB-494B-B3BB-D9D8899AB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7970D6-ABE7-45C2-9CF9-B45C888656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532031-4624-49F1-A939-07CD70BD9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7917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99795-B642-4DC2-AA14-3F5F45D4C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9543E3-2906-4683-8FB4-400203A566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64AF77-5F6D-4F3C-8752-EB2F60CAA6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E902DB-888F-43C6-9848-E9C32C1202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5CECEF-7AB2-49C2-9F45-D9C4134F7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311EC9-D6A5-4394-A812-F1F65A10F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3664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99359-E75A-49C3-ADC0-4D05E228C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62D78A-6F0E-4F71-9E22-1922D28503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1B937C-102E-4C83-9E21-6A789BAD5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05CCB0-C587-48EF-BD49-3519A69E4C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670200-9D4F-45BE-B6EE-68389605A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AAFA7A-5223-49B3-AD30-302FB02FD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0001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EAAA1-D1A7-4857-B081-686317E23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C71827-D6D8-4A97-98F8-F8782E6F2C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2D28C1-F27D-4B64-B37B-7D29529357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CDD60D-288C-4F0A-A3C4-15ADB5C9E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E78EF-FBCD-49F7-86ED-BB36D4982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1187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9629D18-01ED-4A3A-9BE1-505A7676FC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F11E76-FD8C-4983-9E5B-A78F4BE196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6B3F95-2B20-46EE-B0CB-687048ADCF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F8DE39-F892-4617-9C97-98FF9D63538F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690103-B144-4AAC-9C84-C2C7AADBB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1E6E8D-5400-48F6-A0EF-FFE5740B0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9AF1-B1AE-4A70-B648-C69CBB480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3138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4972" y="371475"/>
            <a:ext cx="10515600" cy="6762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44257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83FC5-EE98-44B9-917A-9B4F0A909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80426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9DC18D8-6C2E-8349-B4B0-1789249308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6475" y="2571422"/>
            <a:ext cx="3762368" cy="3588075"/>
          </a:xfrm>
          <a:custGeom>
            <a:avLst/>
            <a:gdLst>
              <a:gd name="connsiteX0" fmla="*/ 0 w 3040807"/>
              <a:gd name="connsiteY0" fmla="*/ 0 h 2934043"/>
              <a:gd name="connsiteX1" fmla="*/ 3040807 w 3040807"/>
              <a:gd name="connsiteY1" fmla="*/ 0 h 2934043"/>
              <a:gd name="connsiteX2" fmla="*/ 3040807 w 3040807"/>
              <a:gd name="connsiteY2" fmla="*/ 2934043 h 2934043"/>
              <a:gd name="connsiteX3" fmla="*/ 0 w 3040807"/>
              <a:gd name="connsiteY3" fmla="*/ 2934043 h 2934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0807" h="2934043">
                <a:moveTo>
                  <a:pt x="0" y="0"/>
                </a:moveTo>
                <a:lnTo>
                  <a:pt x="3040807" y="0"/>
                </a:lnTo>
                <a:lnTo>
                  <a:pt x="3040807" y="2934043"/>
                </a:lnTo>
                <a:lnTo>
                  <a:pt x="0" y="293404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05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4805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E01E0F-073D-09DC-D548-8C49651CF4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4557" y="1038227"/>
            <a:ext cx="3544394" cy="5121269"/>
          </a:xfrm>
          <a:custGeom>
            <a:avLst/>
            <a:gdLst>
              <a:gd name="connsiteX0" fmla="*/ 0 w 3544394"/>
              <a:gd name="connsiteY0" fmla="*/ 0 h 5121269"/>
              <a:gd name="connsiteX1" fmla="*/ 3544394 w 3544394"/>
              <a:gd name="connsiteY1" fmla="*/ 0 h 5121269"/>
              <a:gd name="connsiteX2" fmla="*/ 3544394 w 3544394"/>
              <a:gd name="connsiteY2" fmla="*/ 5121269 h 5121269"/>
              <a:gd name="connsiteX3" fmla="*/ 0 w 3544394"/>
              <a:gd name="connsiteY3" fmla="*/ 5121269 h 5121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4394" h="5121269">
                <a:moveTo>
                  <a:pt x="0" y="0"/>
                </a:moveTo>
                <a:lnTo>
                  <a:pt x="3544394" y="0"/>
                </a:lnTo>
                <a:lnTo>
                  <a:pt x="3544394" y="5121269"/>
                </a:lnTo>
                <a:lnTo>
                  <a:pt x="0" y="512126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063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4B15135-738C-28FC-6D32-C8EDDC92A3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40401" y="698502"/>
            <a:ext cx="2546750" cy="2628900"/>
          </a:xfrm>
          <a:custGeom>
            <a:avLst/>
            <a:gdLst>
              <a:gd name="connsiteX0" fmla="*/ 0 w 2546750"/>
              <a:gd name="connsiteY0" fmla="*/ 0 h 2628900"/>
              <a:gd name="connsiteX1" fmla="*/ 2546750 w 2546750"/>
              <a:gd name="connsiteY1" fmla="*/ 0 h 2628900"/>
              <a:gd name="connsiteX2" fmla="*/ 2546750 w 2546750"/>
              <a:gd name="connsiteY2" fmla="*/ 2628900 h 2628900"/>
              <a:gd name="connsiteX3" fmla="*/ 0 w 2546750"/>
              <a:gd name="connsiteY3" fmla="*/ 262890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6750" h="2628900">
                <a:moveTo>
                  <a:pt x="0" y="0"/>
                </a:moveTo>
                <a:lnTo>
                  <a:pt x="2546750" y="0"/>
                </a:lnTo>
                <a:lnTo>
                  <a:pt x="2546750" y="2628900"/>
                </a:lnTo>
                <a:lnTo>
                  <a:pt x="0" y="26289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3433893-77E2-7DC0-21A3-7F97BDEFA0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38575" y="1231901"/>
            <a:ext cx="3340100" cy="4927595"/>
          </a:xfrm>
          <a:custGeom>
            <a:avLst/>
            <a:gdLst>
              <a:gd name="connsiteX0" fmla="*/ 0 w 3340100"/>
              <a:gd name="connsiteY0" fmla="*/ 0 h 4927595"/>
              <a:gd name="connsiteX1" fmla="*/ 3340100 w 3340100"/>
              <a:gd name="connsiteY1" fmla="*/ 0 h 4927595"/>
              <a:gd name="connsiteX2" fmla="*/ 3340100 w 3340100"/>
              <a:gd name="connsiteY2" fmla="*/ 4927595 h 4927595"/>
              <a:gd name="connsiteX3" fmla="*/ 0 w 3340100"/>
              <a:gd name="connsiteY3" fmla="*/ 4927595 h 4927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0100" h="4927595">
                <a:moveTo>
                  <a:pt x="0" y="0"/>
                </a:moveTo>
                <a:lnTo>
                  <a:pt x="3340100" y="0"/>
                </a:lnTo>
                <a:lnTo>
                  <a:pt x="3340100" y="4927595"/>
                </a:lnTo>
                <a:lnTo>
                  <a:pt x="0" y="492759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15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626AA87-F2C4-A4B3-07EB-8A5ED1DB09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57474" y="0"/>
            <a:ext cx="4905776" cy="6159494"/>
          </a:xfrm>
          <a:custGeom>
            <a:avLst/>
            <a:gdLst>
              <a:gd name="connsiteX0" fmla="*/ 0 w 4905776"/>
              <a:gd name="connsiteY0" fmla="*/ 0 h 6159494"/>
              <a:gd name="connsiteX1" fmla="*/ 4905776 w 4905776"/>
              <a:gd name="connsiteY1" fmla="*/ 0 h 6159494"/>
              <a:gd name="connsiteX2" fmla="*/ 4905776 w 4905776"/>
              <a:gd name="connsiteY2" fmla="*/ 6159494 h 6159494"/>
              <a:gd name="connsiteX3" fmla="*/ 0 w 4905776"/>
              <a:gd name="connsiteY3" fmla="*/ 6159494 h 615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05776" h="6159494">
                <a:moveTo>
                  <a:pt x="0" y="0"/>
                </a:moveTo>
                <a:lnTo>
                  <a:pt x="4905776" y="0"/>
                </a:lnTo>
                <a:lnTo>
                  <a:pt x="4905776" y="6159494"/>
                </a:lnTo>
                <a:lnTo>
                  <a:pt x="0" y="615949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022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FC4B7C4-FC18-F797-ADEE-BFD806B0B85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55045" y="1"/>
            <a:ext cx="5436955" cy="2257424"/>
          </a:xfrm>
          <a:custGeom>
            <a:avLst/>
            <a:gdLst>
              <a:gd name="connsiteX0" fmla="*/ 0 w 5436955"/>
              <a:gd name="connsiteY0" fmla="*/ 0 h 2257424"/>
              <a:gd name="connsiteX1" fmla="*/ 5436955 w 5436955"/>
              <a:gd name="connsiteY1" fmla="*/ 0 h 2257424"/>
              <a:gd name="connsiteX2" fmla="*/ 5436955 w 5436955"/>
              <a:gd name="connsiteY2" fmla="*/ 2257424 h 2257424"/>
              <a:gd name="connsiteX3" fmla="*/ 0 w 5436955"/>
              <a:gd name="connsiteY3" fmla="*/ 2257424 h 225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36955" h="2257424">
                <a:moveTo>
                  <a:pt x="0" y="0"/>
                </a:moveTo>
                <a:lnTo>
                  <a:pt x="5436955" y="0"/>
                </a:lnTo>
                <a:lnTo>
                  <a:pt x="5436955" y="2257424"/>
                </a:lnTo>
                <a:lnTo>
                  <a:pt x="0" y="225742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000"/>
            </a:lvl1pPr>
          </a:lstStyle>
          <a:p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25465A-645A-AFA3-DA5C-4DB04160A4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08128" y="2905125"/>
            <a:ext cx="3740147" cy="3254371"/>
          </a:xfrm>
          <a:custGeom>
            <a:avLst/>
            <a:gdLst>
              <a:gd name="connsiteX0" fmla="*/ 0 w 3740147"/>
              <a:gd name="connsiteY0" fmla="*/ 0 h 3254371"/>
              <a:gd name="connsiteX1" fmla="*/ 3740147 w 3740147"/>
              <a:gd name="connsiteY1" fmla="*/ 0 h 3254371"/>
              <a:gd name="connsiteX2" fmla="*/ 3740147 w 3740147"/>
              <a:gd name="connsiteY2" fmla="*/ 3254371 h 3254371"/>
              <a:gd name="connsiteX3" fmla="*/ 0 w 3740147"/>
              <a:gd name="connsiteY3" fmla="*/ 3254371 h 325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0147" h="3254371">
                <a:moveTo>
                  <a:pt x="0" y="0"/>
                </a:moveTo>
                <a:lnTo>
                  <a:pt x="3740147" y="0"/>
                </a:lnTo>
                <a:lnTo>
                  <a:pt x="3740147" y="3254371"/>
                </a:lnTo>
                <a:lnTo>
                  <a:pt x="0" y="325437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853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01F9BB-2749-866E-4ECB-0F0AA1BEE3E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25963" y="699949"/>
            <a:ext cx="1704973" cy="1938477"/>
          </a:xfrm>
          <a:custGeom>
            <a:avLst/>
            <a:gdLst>
              <a:gd name="connsiteX0" fmla="*/ 0 w 1704973"/>
              <a:gd name="connsiteY0" fmla="*/ 0 h 1938477"/>
              <a:gd name="connsiteX1" fmla="*/ 1704973 w 1704973"/>
              <a:gd name="connsiteY1" fmla="*/ 0 h 1938477"/>
              <a:gd name="connsiteX2" fmla="*/ 1704973 w 1704973"/>
              <a:gd name="connsiteY2" fmla="*/ 1938477 h 1938477"/>
              <a:gd name="connsiteX3" fmla="*/ 0 w 1704973"/>
              <a:gd name="connsiteY3" fmla="*/ 1938477 h 193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4973" h="1938477">
                <a:moveTo>
                  <a:pt x="0" y="0"/>
                </a:moveTo>
                <a:lnTo>
                  <a:pt x="1704973" y="0"/>
                </a:lnTo>
                <a:lnTo>
                  <a:pt x="1704973" y="1938477"/>
                </a:lnTo>
                <a:lnTo>
                  <a:pt x="0" y="1938477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FD7C0FB-18B4-3595-0E05-7C92BA776B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08128" y="2905126"/>
            <a:ext cx="3747184" cy="3254370"/>
          </a:xfrm>
          <a:custGeom>
            <a:avLst/>
            <a:gdLst>
              <a:gd name="connsiteX0" fmla="*/ 0 w 3747184"/>
              <a:gd name="connsiteY0" fmla="*/ 0 h 3254370"/>
              <a:gd name="connsiteX1" fmla="*/ 3747184 w 3747184"/>
              <a:gd name="connsiteY1" fmla="*/ 0 h 3254370"/>
              <a:gd name="connsiteX2" fmla="*/ 3747184 w 3747184"/>
              <a:gd name="connsiteY2" fmla="*/ 3254370 h 3254370"/>
              <a:gd name="connsiteX3" fmla="*/ 0 w 3747184"/>
              <a:gd name="connsiteY3" fmla="*/ 3254370 h 325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7184" h="3254370">
                <a:moveTo>
                  <a:pt x="0" y="0"/>
                </a:moveTo>
                <a:lnTo>
                  <a:pt x="3747184" y="0"/>
                </a:lnTo>
                <a:lnTo>
                  <a:pt x="3747184" y="3254370"/>
                </a:lnTo>
                <a:lnTo>
                  <a:pt x="0" y="325437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656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7B27D9-FEE3-05F2-F132-8E2AE81FA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BCC0CB-2CD5-90D5-168E-99264792F2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27EF24-7ABB-9F6A-7B81-D0FA368EBC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A85A1-4133-4647-A699-AD6F898723FF}" type="datetimeFigureOut">
              <a:rPr lang="en-GB" smtClean="0"/>
              <a:t>08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BFEBE-0A41-A4AD-C49B-7DAD6582F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756F6-0DE6-6EF2-7E8A-2D6DB1A83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CE1C62-65A1-4CE5-A374-23A3A0ACB2C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042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2" r:id="rId22"/>
    <p:sldLayoutId id="2147483670" r:id="rId23"/>
    <p:sldLayoutId id="2147483671" r:id="rId24"/>
    <p:sldLayoutId id="2147483673" r:id="rId25"/>
    <p:sldLayoutId id="2147483674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911FFAD-0442-4561-AA74-9CFF0649B419}"/>
              </a:ext>
            </a:extLst>
          </p:cNvPr>
          <p:cNvSpPr/>
          <p:nvPr userDrawn="1"/>
        </p:nvSpPr>
        <p:spPr>
          <a:xfrm flipV="1">
            <a:off x="0" y="0"/>
            <a:ext cx="6795611" cy="6811230"/>
          </a:xfrm>
          <a:custGeom>
            <a:avLst/>
            <a:gdLst>
              <a:gd name="connsiteX0" fmla="*/ 0 w 4615373"/>
              <a:gd name="connsiteY0" fmla="*/ 0 h 4625981"/>
              <a:gd name="connsiteX1" fmla="*/ 3267310 w 4615373"/>
              <a:gd name="connsiteY1" fmla="*/ 1355564 h 4625981"/>
              <a:gd name="connsiteX2" fmla="*/ 4615361 w 4615373"/>
              <a:gd name="connsiteY2" fmla="*/ 4625981 h 4625981"/>
              <a:gd name="connsiteX3" fmla="*/ 0 w 4615373"/>
              <a:gd name="connsiteY3" fmla="*/ 4615373 h 4625981"/>
              <a:gd name="connsiteX4" fmla="*/ 0 w 4615373"/>
              <a:gd name="connsiteY4" fmla="*/ 0 h 4625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5373" h="4625981">
                <a:moveTo>
                  <a:pt x="0" y="0"/>
                </a:moveTo>
                <a:cubicBezTo>
                  <a:pt x="1225911" y="0"/>
                  <a:pt x="2401457" y="487718"/>
                  <a:pt x="3267310" y="1355564"/>
                </a:cubicBezTo>
                <a:cubicBezTo>
                  <a:pt x="4133164" y="2223409"/>
                  <a:pt x="4618179" y="3400073"/>
                  <a:pt x="4615361" y="4625981"/>
                </a:cubicBezTo>
                <a:lnTo>
                  <a:pt x="0" y="461537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bg1"/>
              </a:gs>
              <a:gs pos="1000">
                <a:schemeClr val="bg1">
                  <a:lumMod val="9500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9B5CC15-9FB5-4098-BCFF-5D7B9B0550B7}"/>
              </a:ext>
            </a:extLst>
          </p:cNvPr>
          <p:cNvGrpSpPr/>
          <p:nvPr userDrawn="1"/>
        </p:nvGrpSpPr>
        <p:grpSpPr>
          <a:xfrm>
            <a:off x="7771386" y="0"/>
            <a:ext cx="4420614" cy="4597671"/>
            <a:chOff x="11447862" y="0"/>
            <a:chExt cx="8029176" cy="8350765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B320C86-1FF8-4791-A8CE-4FEC20046C22}"/>
                </a:ext>
              </a:extLst>
            </p:cNvPr>
            <p:cNvSpPr/>
            <p:nvPr/>
          </p:nvSpPr>
          <p:spPr>
            <a:xfrm>
              <a:off x="12000681" y="0"/>
              <a:ext cx="7476357" cy="7797089"/>
            </a:xfrm>
            <a:custGeom>
              <a:avLst/>
              <a:gdLst>
                <a:gd name="connsiteX0" fmla="*/ 5650693 w 5734490"/>
                <a:gd name="connsiteY0" fmla="*/ 0 h 5971251"/>
                <a:gd name="connsiteX1" fmla="*/ 5734490 w 5734490"/>
                <a:gd name="connsiteY1" fmla="*/ 0 h 5971251"/>
                <a:gd name="connsiteX2" fmla="*/ 5734490 w 5734490"/>
                <a:gd name="connsiteY2" fmla="*/ 76160 h 5971251"/>
                <a:gd name="connsiteX3" fmla="*/ 639966 w 5734490"/>
                <a:gd name="connsiteY3" fmla="*/ 0 h 5971251"/>
                <a:gd name="connsiteX4" fmla="*/ 2045505 w 5734490"/>
                <a:gd name="connsiteY4" fmla="*/ 0 h 5971251"/>
                <a:gd name="connsiteX5" fmla="*/ 1877574 w 5734490"/>
                <a:gd name="connsiteY5" fmla="*/ 152626 h 5971251"/>
                <a:gd name="connsiteX6" fmla="*/ 1061356 w 5734490"/>
                <a:gd name="connsiteY6" fmla="*/ 2123151 h 5971251"/>
                <a:gd name="connsiteX7" fmla="*/ 3848099 w 5734490"/>
                <a:gd name="connsiteY7" fmla="*/ 4909894 h 5971251"/>
                <a:gd name="connsiteX8" fmla="*/ 5620726 w 5734490"/>
                <a:gd name="connsiteY8" fmla="*/ 4273538 h 5971251"/>
                <a:gd name="connsiteX9" fmla="*/ 5734490 w 5734490"/>
                <a:gd name="connsiteY9" fmla="*/ 4170142 h 5971251"/>
                <a:gd name="connsiteX10" fmla="*/ 5734490 w 5734490"/>
                <a:gd name="connsiteY10" fmla="*/ 5476816 h 5971251"/>
                <a:gd name="connsiteX11" fmla="*/ 5682332 w 5734490"/>
                <a:gd name="connsiteY11" fmla="*/ 5506806 h 5971251"/>
                <a:gd name="connsiteX12" fmla="*/ 3848099 w 5734490"/>
                <a:gd name="connsiteY12" fmla="*/ 5971251 h 5971251"/>
                <a:gd name="connsiteX13" fmla="*/ 0 w 5734490"/>
                <a:gd name="connsiteY13" fmla="*/ 2123151 h 5971251"/>
                <a:gd name="connsiteX14" fmla="*/ 464444 w 5734490"/>
                <a:gd name="connsiteY14" fmla="*/ 288918 h 5971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34490" h="5971251">
                  <a:moveTo>
                    <a:pt x="5650693" y="0"/>
                  </a:moveTo>
                  <a:lnTo>
                    <a:pt x="5734490" y="0"/>
                  </a:lnTo>
                  <a:lnTo>
                    <a:pt x="5734490" y="76160"/>
                  </a:lnTo>
                  <a:close/>
                  <a:moveTo>
                    <a:pt x="639966" y="0"/>
                  </a:moveTo>
                  <a:lnTo>
                    <a:pt x="2045505" y="0"/>
                  </a:lnTo>
                  <a:lnTo>
                    <a:pt x="1877574" y="152626"/>
                  </a:lnTo>
                  <a:cubicBezTo>
                    <a:pt x="1373273" y="656927"/>
                    <a:pt x="1061356" y="1353613"/>
                    <a:pt x="1061356" y="2123151"/>
                  </a:cubicBezTo>
                  <a:cubicBezTo>
                    <a:pt x="1061356" y="3662227"/>
                    <a:pt x="2309023" y="4909894"/>
                    <a:pt x="3848099" y="4909894"/>
                  </a:cubicBezTo>
                  <a:cubicBezTo>
                    <a:pt x="4521445" y="4909894"/>
                    <a:pt x="5139013" y="4671083"/>
                    <a:pt x="5620726" y="4273538"/>
                  </a:cubicBezTo>
                  <a:lnTo>
                    <a:pt x="5734490" y="4170142"/>
                  </a:lnTo>
                  <a:lnTo>
                    <a:pt x="5734490" y="5476816"/>
                  </a:lnTo>
                  <a:lnTo>
                    <a:pt x="5682332" y="5506806"/>
                  </a:lnTo>
                  <a:cubicBezTo>
                    <a:pt x="5137082" y="5803004"/>
                    <a:pt x="4512239" y="5971251"/>
                    <a:pt x="3848099" y="5971251"/>
                  </a:cubicBezTo>
                  <a:cubicBezTo>
                    <a:pt x="1722852" y="5971251"/>
                    <a:pt x="0" y="4248398"/>
                    <a:pt x="0" y="2123151"/>
                  </a:cubicBezTo>
                  <a:cubicBezTo>
                    <a:pt x="0" y="1459012"/>
                    <a:pt x="168247" y="834168"/>
                    <a:pt x="464444" y="288918"/>
                  </a:cubicBez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6DA7669-195B-4F32-B0B2-3D46B271EC09}"/>
                </a:ext>
              </a:extLst>
            </p:cNvPr>
            <p:cNvSpPr/>
            <p:nvPr/>
          </p:nvSpPr>
          <p:spPr>
            <a:xfrm>
              <a:off x="11447862" y="0"/>
              <a:ext cx="8029176" cy="8350765"/>
            </a:xfrm>
            <a:custGeom>
              <a:avLst/>
              <a:gdLst>
                <a:gd name="connsiteX0" fmla="*/ 568356 w 6158512"/>
                <a:gd name="connsiteY0" fmla="*/ 0 h 6395273"/>
                <a:gd name="connsiteX1" fmla="*/ 815476 w 6158512"/>
                <a:gd name="connsiteY1" fmla="*/ 0 h 6395273"/>
                <a:gd name="connsiteX2" fmla="*/ 701520 w 6158512"/>
                <a:gd name="connsiteY2" fmla="*/ 187577 h 6395273"/>
                <a:gd name="connsiteX3" fmla="*/ 211415 w 6158512"/>
                <a:gd name="connsiteY3" fmla="*/ 2123150 h 6395273"/>
                <a:gd name="connsiteX4" fmla="*/ 4272120 w 6158512"/>
                <a:gd name="connsiteY4" fmla="*/ 6183856 h 6395273"/>
                <a:gd name="connsiteX5" fmla="*/ 6032604 w 6158512"/>
                <a:gd name="connsiteY5" fmla="*/ 5783427 h 6395273"/>
                <a:gd name="connsiteX6" fmla="*/ 6158512 w 6158512"/>
                <a:gd name="connsiteY6" fmla="*/ 5718940 h 6395273"/>
                <a:gd name="connsiteX7" fmla="*/ 6158512 w 6158512"/>
                <a:gd name="connsiteY7" fmla="*/ 5956454 h 6395273"/>
                <a:gd name="connsiteX8" fmla="*/ 6124262 w 6158512"/>
                <a:gd name="connsiteY8" fmla="*/ 5973996 h 6395273"/>
                <a:gd name="connsiteX9" fmla="*/ 4272121 w 6158512"/>
                <a:gd name="connsiteY9" fmla="*/ 6395273 h 6395273"/>
                <a:gd name="connsiteX10" fmla="*/ 0 w 6158512"/>
                <a:gd name="connsiteY10" fmla="*/ 2123151 h 6395273"/>
                <a:gd name="connsiteX11" fmla="*/ 515622 w 6158512"/>
                <a:gd name="connsiteY11" fmla="*/ 86804 h 639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58512" h="6395273">
                  <a:moveTo>
                    <a:pt x="568356" y="0"/>
                  </a:moveTo>
                  <a:lnTo>
                    <a:pt x="815476" y="0"/>
                  </a:lnTo>
                  <a:lnTo>
                    <a:pt x="701520" y="187577"/>
                  </a:lnTo>
                  <a:cubicBezTo>
                    <a:pt x="388958" y="762952"/>
                    <a:pt x="211415" y="1422317"/>
                    <a:pt x="211415" y="2123150"/>
                  </a:cubicBezTo>
                  <a:cubicBezTo>
                    <a:pt x="211415" y="4365816"/>
                    <a:pt x="2029455" y="6183856"/>
                    <a:pt x="4272120" y="6183856"/>
                  </a:cubicBezTo>
                  <a:cubicBezTo>
                    <a:pt x="4902870" y="6183856"/>
                    <a:pt x="5500031" y="6040047"/>
                    <a:pt x="6032604" y="5783427"/>
                  </a:cubicBezTo>
                  <a:lnTo>
                    <a:pt x="6158512" y="5718940"/>
                  </a:lnTo>
                  <a:lnTo>
                    <a:pt x="6158512" y="5956454"/>
                  </a:lnTo>
                  <a:lnTo>
                    <a:pt x="6124262" y="5973996"/>
                  </a:lnTo>
                  <a:cubicBezTo>
                    <a:pt x="5563962" y="6243976"/>
                    <a:pt x="4935710" y="6395273"/>
                    <a:pt x="4272121" y="6395273"/>
                  </a:cubicBezTo>
                  <a:cubicBezTo>
                    <a:pt x="1912694" y="6395273"/>
                    <a:pt x="0" y="4482579"/>
                    <a:pt x="0" y="2123151"/>
                  </a:cubicBezTo>
                  <a:cubicBezTo>
                    <a:pt x="0" y="1385830"/>
                    <a:pt x="186786" y="692135"/>
                    <a:pt x="515622" y="86804"/>
                  </a:cubicBezTo>
                  <a:close/>
                </a:path>
              </a:pathLst>
            </a:custGeom>
            <a:solidFill>
              <a:srgbClr val="F8F8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76"/>
            </a:p>
          </p:txBody>
        </p:sp>
      </p:grpSp>
    </p:spTree>
    <p:extLst>
      <p:ext uri="{BB962C8B-B14F-4D97-AF65-F5344CB8AC3E}">
        <p14:creationId xmlns:p14="http://schemas.microsoft.com/office/powerpoint/2010/main" val="1523735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Rectangle 203">
            <a:extLst>
              <a:ext uri="{FF2B5EF4-FFF2-40B4-BE49-F238E27FC236}">
                <a16:creationId xmlns:a16="http://schemas.microsoft.com/office/drawing/2014/main" id="{549AA792-E632-A723-F602-7BA519278DCD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F55520-2956-05AA-6DA1-2D4275B2C6AA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1">
              <a:lumMod val="20000"/>
              <a:lumOff val="80000"/>
              <a:alpha val="12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Placeholder 15">
            <a:extLst>
              <a:ext uri="{FF2B5EF4-FFF2-40B4-BE49-F238E27FC236}">
                <a16:creationId xmlns:a16="http://schemas.microsoft.com/office/drawing/2014/main" id="{38D1C378-F6F0-6537-756E-C364808140D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008" b="12008"/>
          <a:stretch>
            <a:fillRect/>
          </a:stretch>
        </p:blipFill>
        <p:spPr>
          <a:xfrm>
            <a:off x="0" y="0"/>
            <a:ext cx="5076825" cy="6858000"/>
          </a:xfrm>
          <a:custGeom>
            <a:avLst/>
            <a:gdLst>
              <a:gd name="connsiteX0" fmla="*/ 0 w 5076825"/>
              <a:gd name="connsiteY0" fmla="*/ 0 h 6858000"/>
              <a:gd name="connsiteX1" fmla="*/ 5076825 w 5076825"/>
              <a:gd name="connsiteY1" fmla="*/ 0 h 6858000"/>
              <a:gd name="connsiteX2" fmla="*/ 5076825 w 5076825"/>
              <a:gd name="connsiteY2" fmla="*/ 6858000 h 6858000"/>
              <a:gd name="connsiteX3" fmla="*/ 0 w 5076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76825" h="6858000">
                <a:moveTo>
                  <a:pt x="0" y="0"/>
                </a:moveTo>
                <a:lnTo>
                  <a:pt x="5076825" y="0"/>
                </a:lnTo>
                <a:lnTo>
                  <a:pt x="507682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40157A1-7107-8649-C774-B7725044F4FA}"/>
              </a:ext>
            </a:extLst>
          </p:cNvPr>
          <p:cNvSpPr/>
          <p:nvPr/>
        </p:nvSpPr>
        <p:spPr>
          <a:xfrm>
            <a:off x="11487151" y="1438275"/>
            <a:ext cx="704850" cy="362947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4EDA35-6268-FB54-E2AB-F4A915C2DEBF}"/>
              </a:ext>
            </a:extLst>
          </p:cNvPr>
          <p:cNvSpPr/>
          <p:nvPr/>
        </p:nvSpPr>
        <p:spPr>
          <a:xfrm>
            <a:off x="5340322" y="497801"/>
            <a:ext cx="2807998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ts val="1200"/>
              </a:lnSpc>
              <a:defRPr/>
            </a:pPr>
            <a:r>
              <a:rPr lang="en-US" sz="1000" dirty="0">
                <a:latin typeface="Poppins Medium" panose="00000600000000000000" pitchFamily="2" charset="0"/>
                <a:ea typeface="Inter Medium" panose="02000503000000020004" pitchFamily="2" charset="0"/>
                <a:cs typeface="Poppins Medium" panose="00000600000000000000" pitchFamily="2" charset="0"/>
              </a:rPr>
              <a:t>Propensity Model Demo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1E7B77-4D64-AF76-BA8D-9E9F6C829D6A}"/>
              </a:ext>
            </a:extLst>
          </p:cNvPr>
          <p:cNvCxnSpPr>
            <a:cxnSpLocks/>
          </p:cNvCxnSpPr>
          <p:nvPr/>
        </p:nvCxnSpPr>
        <p:spPr>
          <a:xfrm>
            <a:off x="6786100" y="5153025"/>
            <a:ext cx="0" cy="1704975"/>
          </a:xfrm>
          <a:prstGeom prst="line">
            <a:avLst/>
          </a:prstGeom>
          <a:ln w="34925">
            <a:solidFill>
              <a:srgbClr val="002060"/>
            </a:solidFill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C8F4733-0943-34CD-D81F-26E469A273E5}"/>
              </a:ext>
            </a:extLst>
          </p:cNvPr>
          <p:cNvCxnSpPr>
            <a:cxnSpLocks/>
          </p:cNvCxnSpPr>
          <p:nvPr/>
        </p:nvCxnSpPr>
        <p:spPr>
          <a:xfrm>
            <a:off x="4597980" y="-65475"/>
            <a:ext cx="0" cy="320040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0692F17-A71E-7B87-9099-7AFCB2AA2B6D}"/>
              </a:ext>
            </a:extLst>
          </p:cNvPr>
          <p:cNvSpPr txBox="1"/>
          <p:nvPr/>
        </p:nvSpPr>
        <p:spPr>
          <a:xfrm>
            <a:off x="6891888" y="5114025"/>
            <a:ext cx="3969149" cy="1433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400" b="1" u="sng" dirty="0">
                <a:latin typeface="Aptos" panose="020B0004020202020204" pitchFamily="34" charset="0"/>
                <a:cs typeface="Poppins" panose="00000500000000000000" pitchFamily="2" charset="0"/>
              </a:rPr>
              <a:t>Factors Influencing L</a:t>
            </a:r>
            <a:r>
              <a:rPr lang="en-US" sz="1400" b="1" i="0" u="sng" dirty="0">
                <a:effectLst/>
                <a:latin typeface="Aptos" panose="020B0004020202020204" pitchFamily="34" charset="0"/>
                <a:cs typeface="Poppins" panose="00000500000000000000" pitchFamily="2" charset="0"/>
              </a:rPr>
              <a:t>ife Insurance </a:t>
            </a:r>
          </a:p>
          <a:p>
            <a:pPr>
              <a:lnSpc>
                <a:spcPts val="1500"/>
              </a:lnSpc>
            </a:pPr>
            <a:r>
              <a:rPr lang="en-US" sz="1200" b="1" dirty="0">
                <a:latin typeface="Aptos" panose="020B0004020202020204" pitchFamily="34" charset="0"/>
                <a:cs typeface="Poppins" panose="00000500000000000000" pitchFamily="2" charset="0"/>
              </a:rPr>
              <a:t>Demo model </a:t>
            </a:r>
            <a:r>
              <a:rPr lang="en-US" sz="1200" dirty="0">
                <a:latin typeface="Aptos" panose="020B0004020202020204" pitchFamily="34" charset="0"/>
                <a:cs typeface="Poppins" panose="00000500000000000000" pitchFamily="2" charset="0"/>
              </a:rPr>
              <a:t>:Bank synthetic data model including </a:t>
            </a:r>
            <a:r>
              <a:rPr lang="en-US" sz="1200" i="0" dirty="0">
                <a:effectLst/>
                <a:latin typeface="Aptos" panose="020B0004020202020204" pitchFamily="34" charset="0"/>
                <a:cs typeface="Poppins" panose="00000500000000000000" pitchFamily="2" charset="0"/>
              </a:rPr>
              <a:t>Demographics Variables, financial and Insurance variables.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 b="1" i="0" dirty="0">
                <a:effectLst/>
                <a:latin typeface="Aptos" panose="020B0004020202020204" pitchFamily="34" charset="0"/>
              </a:rPr>
              <a:t>Demographic Factors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 b="1" i="0" dirty="0">
                <a:effectLst/>
                <a:latin typeface="Aptos" panose="020B0004020202020204" pitchFamily="34" charset="0"/>
              </a:rPr>
              <a:t>Purchase Propensity Data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200" b="1" i="0" dirty="0">
                <a:effectLst/>
                <a:latin typeface="Aptos" panose="020B0004020202020204" pitchFamily="34" charset="0"/>
              </a:rPr>
              <a:t>Barriers to Purch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5F0DD2-26E0-46A1-2B5E-99FE6938627D}"/>
              </a:ext>
            </a:extLst>
          </p:cNvPr>
          <p:cNvSpPr txBox="1"/>
          <p:nvPr/>
        </p:nvSpPr>
        <p:spPr>
          <a:xfrm>
            <a:off x="5387844" y="3238617"/>
            <a:ext cx="5788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+mj-lt"/>
              </a:rPr>
              <a:t>“</a:t>
            </a:r>
            <a:r>
              <a:rPr lang="en-US" sz="1200" b="1" i="0" dirty="0">
                <a:effectLst/>
                <a:latin typeface="+mj-lt"/>
              </a:rPr>
              <a:t>Life events are strong predictors of life insurance purchases. According to a study by Deloitte, events such as having children (43%), buying a home (35%), and changes in financial situations (33%) notably increase the likelihood of individuals purchasing life insurance”</a:t>
            </a:r>
            <a:endParaRPr lang="en-US" sz="1200" b="1" u="sng" dirty="0">
              <a:solidFill>
                <a:schemeClr val="bg2">
                  <a:lumMod val="10000"/>
                  <a:alpha val="50000"/>
                </a:schemeClr>
              </a:solidFill>
              <a:latin typeface="+mj-lt"/>
              <a:ea typeface="Arimo" panose="020B0604020202020204" pitchFamily="34" charset="0"/>
              <a:cs typeface="Poppins" panose="00000500000000000000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C28EA0-139E-FF9A-79EF-619E930000B2}"/>
              </a:ext>
            </a:extLst>
          </p:cNvPr>
          <p:cNvSpPr/>
          <p:nvPr/>
        </p:nvSpPr>
        <p:spPr>
          <a:xfrm rot="16200000">
            <a:off x="10395812" y="3073985"/>
            <a:ext cx="288752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odel Presen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89FD98-C83B-89F1-83F3-751E207339FD}"/>
              </a:ext>
            </a:extLst>
          </p:cNvPr>
          <p:cNvSpPr txBox="1"/>
          <p:nvPr/>
        </p:nvSpPr>
        <p:spPr>
          <a:xfrm>
            <a:off x="5422003" y="1701964"/>
            <a:ext cx="482859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u="sng" dirty="0">
                <a:solidFill>
                  <a:schemeClr val="tx2">
                    <a:lumMod val="75000"/>
                  </a:schemeClr>
                </a:solidFill>
                <a:latin typeface="+mj-lt"/>
                <a:ea typeface="Inter Medium" panose="02000503000000020004" pitchFamily="2" charset="0"/>
                <a:cs typeface="Arimo Medium" panose="020B0604020202020204" pitchFamily="34" charset="0"/>
              </a:rPr>
              <a:t>Propensity</a:t>
            </a:r>
            <a:r>
              <a:rPr lang="en-US" sz="4400" b="1" u="sng" dirty="0">
                <a:solidFill>
                  <a:schemeClr val="accent5">
                    <a:lumMod val="75000"/>
                  </a:schemeClr>
                </a:solidFill>
                <a:latin typeface="+mj-lt"/>
                <a:ea typeface="Inter Medium" panose="02000503000000020004" pitchFamily="2" charset="0"/>
                <a:cs typeface="Arimo Medium" panose="020B0604020202020204" pitchFamily="34" charset="0"/>
              </a:rPr>
              <a:t> to </a:t>
            </a:r>
            <a:r>
              <a:rPr lang="en-US" sz="4400" b="1" u="sng" dirty="0">
                <a:solidFill>
                  <a:schemeClr val="tx2">
                    <a:lumMod val="75000"/>
                  </a:schemeClr>
                </a:solidFill>
                <a:latin typeface="+mj-lt"/>
                <a:ea typeface="Inter Medium" panose="02000503000000020004" pitchFamily="2" charset="0"/>
                <a:cs typeface="Arimo Medium" panose="020B0604020202020204" pitchFamily="34" charset="0"/>
              </a:rPr>
              <a:t>Buy </a:t>
            </a:r>
          </a:p>
          <a:p>
            <a:r>
              <a:rPr lang="en-US" sz="3200" dirty="0">
                <a:latin typeface="Segoe UI Variable Small" pitchFamily="2" charset="0"/>
                <a:ea typeface="Inter Medium" panose="02000503000000020004" pitchFamily="2" charset="0"/>
                <a:cs typeface="Arimo Medium" panose="020B0604020202020204" pitchFamily="34" charset="0"/>
              </a:rPr>
              <a:t>		</a:t>
            </a:r>
            <a:r>
              <a:rPr lang="en-US" sz="3200" dirty="0">
                <a:solidFill>
                  <a:schemeClr val="accent5">
                    <a:lumMod val="75000"/>
                  </a:schemeClr>
                </a:solidFill>
                <a:latin typeface="Segoe UI Variable Small" pitchFamily="2" charset="0"/>
                <a:ea typeface="Inter Medium" panose="02000503000000020004" pitchFamily="2" charset="0"/>
                <a:cs typeface="Arimo Medium" panose="020B0604020202020204" pitchFamily="34" charset="0"/>
              </a:rPr>
              <a:t>-</a:t>
            </a:r>
            <a:r>
              <a:rPr lang="en-US" sz="3200" b="1" u="sng" dirty="0">
                <a:solidFill>
                  <a:schemeClr val="accent5">
                    <a:lumMod val="7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  <a:cs typeface="Arimo Medium" panose="020B0604020202020204" pitchFamily="34" charset="0"/>
              </a:rPr>
              <a:t>Life Insurance</a:t>
            </a:r>
          </a:p>
        </p:txBody>
      </p:sp>
      <p:pic>
        <p:nvPicPr>
          <p:cNvPr id="12" name="Picture 2" descr="Paper">
            <a:extLst>
              <a:ext uri="{FF2B5EF4-FFF2-40B4-BE49-F238E27FC236}">
                <a16:creationId xmlns:a16="http://schemas.microsoft.com/office/drawing/2014/main" id="{7396F6FE-56BA-55EB-3FAF-0368045CFC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1060699" y="4438649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BD687C2-1F4F-DC5B-CE54-633D2B4F1703}"/>
              </a:ext>
            </a:extLst>
          </p:cNvPr>
          <p:cNvSpPr/>
          <p:nvPr/>
        </p:nvSpPr>
        <p:spPr>
          <a:xfrm>
            <a:off x="4633818" y="-65475"/>
            <a:ext cx="700287" cy="391885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4A5C0B-AFAB-CE7E-C622-A3B10D9EE868}"/>
              </a:ext>
            </a:extLst>
          </p:cNvPr>
          <p:cNvSpPr/>
          <p:nvPr/>
        </p:nvSpPr>
        <p:spPr>
          <a:xfrm>
            <a:off x="4935834" y="3591618"/>
            <a:ext cx="288200" cy="3291840"/>
          </a:xfrm>
          <a:prstGeom prst="rect">
            <a:avLst/>
          </a:prstGeom>
          <a:solidFill>
            <a:srgbClr val="C1C0B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975C31-379F-FDED-8B39-173C269C88A8}"/>
              </a:ext>
            </a:extLst>
          </p:cNvPr>
          <p:cNvCxnSpPr>
            <a:cxnSpLocks/>
          </p:cNvCxnSpPr>
          <p:nvPr/>
        </p:nvCxnSpPr>
        <p:spPr>
          <a:xfrm>
            <a:off x="4951654" y="3652096"/>
            <a:ext cx="0" cy="822960"/>
          </a:xfrm>
          <a:prstGeom prst="line">
            <a:avLst/>
          </a:prstGeom>
          <a:ln w="63500">
            <a:solidFill>
              <a:srgbClr val="002060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Procurement">
            <a:extLst>
              <a:ext uri="{FF2B5EF4-FFF2-40B4-BE49-F238E27FC236}">
                <a16:creationId xmlns:a16="http://schemas.microsoft.com/office/drawing/2014/main" id="{5A4E4860-6984-CCFB-52A4-EA23547E0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179" y="1188442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5160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7A56FAE-6255-75D1-03CA-8A4FB4ABCDF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03" y="0"/>
            <a:ext cx="3857625" cy="6858000"/>
          </a:xfrm>
          <a:prstGeom prst="rect">
            <a:avLst/>
          </a:prstGeom>
        </p:spPr>
      </p:pic>
      <p:sp>
        <p:nvSpPr>
          <p:cNvPr id="204" name="Rectangle 203">
            <a:extLst>
              <a:ext uri="{FF2B5EF4-FFF2-40B4-BE49-F238E27FC236}">
                <a16:creationId xmlns:a16="http://schemas.microsoft.com/office/drawing/2014/main" id="{549AA792-E632-A723-F602-7BA519278DCD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F7B9BB-9AD4-A39D-30BE-A108BBB0A87D}"/>
              </a:ext>
            </a:extLst>
          </p:cNvPr>
          <p:cNvSpPr txBox="1"/>
          <p:nvPr/>
        </p:nvSpPr>
        <p:spPr>
          <a:xfrm rot="16200000">
            <a:off x="564370" y="4251387"/>
            <a:ext cx="23542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chemeClr val="bg1"/>
                </a:solidFill>
                <a:latin typeface="Photograph Signature" panose="02000500000000000000" pitchFamily="50" charset="0"/>
                <a:ea typeface="Arimo Medium" panose="020B0604020202020204" pitchFamily="34" charset="0"/>
                <a:cs typeface="Arimo Medium" panose="020B0604020202020204" pitchFamily="34" charset="0"/>
              </a:rPr>
              <a:t>Diving into the Business Proble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E9B81F-DC77-1CFC-8AFB-13365D7FF648}"/>
              </a:ext>
            </a:extLst>
          </p:cNvPr>
          <p:cNvSpPr txBox="1"/>
          <p:nvPr/>
        </p:nvSpPr>
        <p:spPr>
          <a:xfrm>
            <a:off x="587382" y="587634"/>
            <a:ext cx="2308218" cy="605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</a:pPr>
            <a:r>
              <a:rPr lang="en-GB" sz="3600" b="1" u="sng" dirty="0">
                <a:solidFill>
                  <a:schemeClr val="accent4">
                    <a:lumMod val="75000"/>
                  </a:schemeClr>
                </a:solidFill>
                <a:latin typeface="Candara" panose="020E0502030303020204" pitchFamily="34" charset="0"/>
                <a:ea typeface="Inter SemiBold" panose="02000503000000020004" pitchFamily="2" charset="0"/>
                <a:cs typeface="Arimo SemiBold" panose="020B0604020202020204" pitchFamily="34" charset="0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ABB3F71-C2B7-2186-F97C-A30F8C5F2018}"/>
              </a:ext>
            </a:extLst>
          </p:cNvPr>
          <p:cNvGrpSpPr/>
          <p:nvPr/>
        </p:nvGrpSpPr>
        <p:grpSpPr>
          <a:xfrm>
            <a:off x="6399451" y="1213864"/>
            <a:ext cx="5385007" cy="3032292"/>
            <a:chOff x="6548631" y="2492418"/>
            <a:chExt cx="5385007" cy="3032292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5864442-64DF-7F60-87D2-6C6ECF243A0D}"/>
                </a:ext>
              </a:extLst>
            </p:cNvPr>
            <p:cNvCxnSpPr>
              <a:cxnSpLocks/>
            </p:cNvCxnSpPr>
            <p:nvPr/>
          </p:nvCxnSpPr>
          <p:spPr>
            <a:xfrm>
              <a:off x="6654800" y="3510322"/>
              <a:ext cx="3187700" cy="0"/>
            </a:xfrm>
            <a:prstGeom prst="line">
              <a:avLst/>
            </a:prstGeom>
            <a:ln w="25400">
              <a:solidFill>
                <a:srgbClr val="00206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719CCBE-0827-07B6-954E-6CF031265ADD}"/>
                </a:ext>
              </a:extLst>
            </p:cNvPr>
            <p:cNvSpPr txBox="1"/>
            <p:nvPr/>
          </p:nvSpPr>
          <p:spPr>
            <a:xfrm>
              <a:off x="6561364" y="3631933"/>
              <a:ext cx="51092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0" i="0" dirty="0">
                  <a:effectLst/>
                  <a:latin typeface="__fkGroteskNeue_598ab8"/>
                </a:rPr>
                <a:t>"Protect your family's future today :</a:t>
              </a:r>
            </a:p>
            <a:p>
              <a:r>
                <a:rPr lang="en-US" dirty="0">
                  <a:latin typeface="__fkGroteskNeue_598ab8"/>
                </a:rPr>
                <a:t>I</a:t>
              </a:r>
              <a:r>
                <a:rPr lang="en-US" b="0" i="0" dirty="0">
                  <a:effectLst/>
                  <a:latin typeface="__fkGroteskNeue_598ab8"/>
                </a:rPr>
                <a:t>nvest in life insurance for a worry-free tomorrow."</a:t>
              </a:r>
              <a:endParaRPr lang="en-GB" dirty="0">
                <a:latin typeface="Inter SemiBold" panose="02000503000000020004" pitchFamily="2" charset="0"/>
                <a:ea typeface="Inter SemiBold" panose="02000503000000020004" pitchFamily="2" charset="0"/>
                <a:cs typeface="Poppins SemiBold" panose="00000700000000000000" pitchFamily="2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5025062-E4A0-63BB-C941-F251FBE3E59D}"/>
                </a:ext>
              </a:extLst>
            </p:cNvPr>
            <p:cNvSpPr txBox="1"/>
            <p:nvPr/>
          </p:nvSpPr>
          <p:spPr>
            <a:xfrm>
              <a:off x="6561364" y="4564575"/>
              <a:ext cx="5372274" cy="96013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GB" sz="1400" b="1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Overview | </a:t>
              </a:r>
              <a:r>
                <a:rPr lang="en-GB" sz="1400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Objective Approach notes and variable </a:t>
              </a:r>
            </a:p>
            <a:p>
              <a:pPr>
                <a:lnSpc>
                  <a:spcPts val="1700"/>
                </a:lnSpc>
              </a:pPr>
              <a:r>
                <a:rPr lang="en-GB" sz="1400" b="1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Basic EDA | </a:t>
              </a:r>
              <a:r>
                <a:rPr lang="en-GB" sz="1400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Overview of the Data </a:t>
              </a:r>
            </a:p>
            <a:p>
              <a:pPr>
                <a:lnSpc>
                  <a:spcPts val="1700"/>
                </a:lnSpc>
              </a:pPr>
              <a:r>
                <a:rPr lang="en-GB" sz="1400" b="1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Model Architecture | </a:t>
              </a:r>
              <a:r>
                <a:rPr lang="en-GB" sz="1400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High Level Architecture view </a:t>
              </a:r>
            </a:p>
            <a:p>
              <a:pPr>
                <a:lnSpc>
                  <a:spcPts val="1700"/>
                </a:lnSpc>
              </a:pPr>
              <a:r>
                <a:rPr lang="en-GB" sz="1400" b="1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Model Results | </a:t>
              </a:r>
              <a:r>
                <a:rPr lang="en-GB" sz="1400" dirty="0">
                  <a:solidFill>
                    <a:schemeClr val="tx2">
                      <a:lumMod val="50000"/>
                    </a:schemeClr>
                  </a:solidFill>
                  <a:latin typeface="Poppins "/>
                  <a:ea typeface="Inter" panose="02000503000000020004" pitchFamily="2" charset="0"/>
                </a:rPr>
                <a:t>Final Model Results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5003211-CA48-7117-EEC7-27B2EEB7BD2E}"/>
                </a:ext>
              </a:extLst>
            </p:cNvPr>
            <p:cNvSpPr txBox="1"/>
            <p:nvPr/>
          </p:nvSpPr>
          <p:spPr>
            <a:xfrm>
              <a:off x="6548631" y="2492418"/>
              <a:ext cx="250902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b="1" u="sng" dirty="0">
                  <a:solidFill>
                    <a:schemeClr val="accent1">
                      <a:lumMod val="50000"/>
                    </a:schemeClr>
                  </a:solidFill>
                  <a:latin typeface="Candara Light" panose="020E0502030303020204" pitchFamily="34" charset="0"/>
                  <a:ea typeface="Arimo Medium" panose="020B0604020202020204" pitchFamily="34" charset="0"/>
                  <a:cs typeface="Poppins Medium" panose="00000600000000000000" pitchFamily="2" charset="0"/>
                </a:rPr>
                <a:t>Propensity Model 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F9620FE-69D5-282F-467B-25C521B9BC4B}"/>
                </a:ext>
              </a:extLst>
            </p:cNvPr>
            <p:cNvSpPr txBox="1"/>
            <p:nvPr/>
          </p:nvSpPr>
          <p:spPr>
            <a:xfrm>
              <a:off x="6561364" y="2915982"/>
              <a:ext cx="29541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b="1" dirty="0">
                  <a:latin typeface="Candara Light" panose="020E0502030303020204" pitchFamily="34" charset="0"/>
                  <a:ea typeface="Arimo Medium" panose="020B0604020202020204" pitchFamily="34" charset="0"/>
                  <a:cs typeface="Poppins" panose="00000500000000000000" pitchFamily="2" charset="0"/>
                </a:rPr>
                <a:t>Insurance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571C310-1783-DAC5-0B43-6941120F899D}"/>
              </a:ext>
            </a:extLst>
          </p:cNvPr>
          <p:cNvGrpSpPr/>
          <p:nvPr/>
        </p:nvGrpSpPr>
        <p:grpSpPr>
          <a:xfrm>
            <a:off x="510129" y="1962937"/>
            <a:ext cx="339452" cy="4196559"/>
            <a:chOff x="510129" y="1962937"/>
            <a:chExt cx="339452" cy="419655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011CF38-E60C-7378-22CA-02FD982862F7}"/>
                </a:ext>
              </a:extLst>
            </p:cNvPr>
            <p:cNvSpPr txBox="1"/>
            <p:nvPr/>
          </p:nvSpPr>
          <p:spPr>
            <a:xfrm rot="16200000">
              <a:off x="-173170" y="2646236"/>
              <a:ext cx="1706049" cy="3394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en-GB" sz="1100" b="1" spc="300" dirty="0">
                  <a:solidFill>
                    <a:schemeClr val="bg1"/>
                  </a:solidFill>
                  <a:latin typeface="Candara" panose="020E0502030303020204" pitchFamily="34" charset="0"/>
                  <a:ea typeface="Inter Medium" panose="02000503000000020004" pitchFamily="2" charset="0"/>
                </a:rPr>
                <a:t>Topics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13964D5-2350-667F-C637-45E1DDDFC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855" y="3875093"/>
              <a:ext cx="0" cy="228440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4CE41F7-0F87-B35D-DBDF-48F655E920B2}"/>
              </a:ext>
            </a:extLst>
          </p:cNvPr>
          <p:cNvCxnSpPr>
            <a:cxnSpLocks/>
          </p:cNvCxnSpPr>
          <p:nvPr/>
        </p:nvCxnSpPr>
        <p:spPr>
          <a:xfrm>
            <a:off x="6505620" y="3082467"/>
            <a:ext cx="3187700" cy="0"/>
          </a:xfrm>
          <a:prstGeom prst="line">
            <a:avLst/>
          </a:prstGeom>
          <a:ln w="25400">
            <a:solidFill>
              <a:srgbClr val="002060"/>
            </a:solidFill>
            <a:prstDash val="sys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5B200C-B159-6FDF-E105-76671645CA1F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3200400"/>
          </a:xfrm>
          <a:prstGeom prst="line">
            <a:avLst/>
          </a:prstGeom>
          <a:ln w="635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Notes ">
            <a:extLst>
              <a:ext uri="{FF2B5EF4-FFF2-40B4-BE49-F238E27FC236}">
                <a16:creationId xmlns:a16="http://schemas.microsoft.com/office/drawing/2014/main" id="{2B0BCB17-C752-9E17-129C-D255931B26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893" y="2160648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5779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502FBB75-2CF6-705E-E369-9F337BF9D437}"/>
              </a:ext>
            </a:extLst>
          </p:cNvPr>
          <p:cNvSpPr/>
          <p:nvPr/>
        </p:nvSpPr>
        <p:spPr>
          <a:xfrm>
            <a:off x="276639" y="21369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64D8CB-B5C7-2032-FC3B-A8A69138C64F}"/>
              </a:ext>
            </a:extLst>
          </p:cNvPr>
          <p:cNvSpPr txBox="1"/>
          <p:nvPr/>
        </p:nvSpPr>
        <p:spPr>
          <a:xfrm>
            <a:off x="574678" y="561632"/>
            <a:ext cx="1339847" cy="1067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Approach</a:t>
            </a:r>
            <a:r>
              <a:rPr lang="en-GB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 </a:t>
            </a:r>
            <a:r>
              <a:rPr lang="en-GB" sz="3600" b="1" dirty="0">
                <a:solidFill>
                  <a:schemeClr val="accent6">
                    <a:lumMod val="50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Not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FF89257-A5B6-A5AC-2AC1-1194CA3465DF}"/>
              </a:ext>
            </a:extLst>
          </p:cNvPr>
          <p:cNvGrpSpPr/>
          <p:nvPr/>
        </p:nvGrpSpPr>
        <p:grpSpPr>
          <a:xfrm>
            <a:off x="510962" y="1962937"/>
            <a:ext cx="337785" cy="4196559"/>
            <a:chOff x="510962" y="1962937"/>
            <a:chExt cx="337785" cy="419655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4E10FEC-56C7-3322-3E47-881F4E158CAC}"/>
                </a:ext>
              </a:extLst>
            </p:cNvPr>
            <p:cNvSpPr txBox="1"/>
            <p:nvPr/>
          </p:nvSpPr>
          <p:spPr>
            <a:xfrm rot="16200000">
              <a:off x="-173170" y="2647069"/>
              <a:ext cx="1706049" cy="337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en-GB" sz="1050" b="1" u="sng" spc="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ndara" panose="020E0502030303020204" pitchFamily="34" charset="0"/>
                  <a:ea typeface="Inter Medium" panose="02000503000000020004" pitchFamily="2" charset="0"/>
                </a:rPr>
                <a:t>Variable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73A18E9-B876-D640-0555-32C5E2F94B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855" y="3875093"/>
              <a:ext cx="0" cy="2284403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65AE9AE-8150-BAAD-2291-C74F989BCF85}"/>
              </a:ext>
            </a:extLst>
          </p:cNvPr>
          <p:cNvCxnSpPr>
            <a:cxnSpLocks/>
          </p:cNvCxnSpPr>
          <p:nvPr/>
        </p:nvCxnSpPr>
        <p:spPr>
          <a:xfrm>
            <a:off x="8629650" y="95773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77D17A4-3FBE-B924-C999-7D934CAA1A3D}"/>
              </a:ext>
            </a:extLst>
          </p:cNvPr>
          <p:cNvSpPr txBox="1"/>
          <p:nvPr/>
        </p:nvSpPr>
        <p:spPr>
          <a:xfrm>
            <a:off x="8459068" y="271105"/>
            <a:ext cx="1885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Poppins Medium" panose="00000600000000000000" pitchFamily="2" charset="0"/>
                <a:ea typeface="Arimo SemiBold" panose="020B0604020202020204" pitchFamily="34" charset="0"/>
                <a:cs typeface="Poppins Medium" panose="00000600000000000000" pitchFamily="2" charset="0"/>
              </a:rPr>
              <a:t>Overview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F73E6F2-B125-22A5-F9F5-8DF7F8F213C4}"/>
              </a:ext>
            </a:extLst>
          </p:cNvPr>
          <p:cNvSpPr txBox="1"/>
          <p:nvPr/>
        </p:nvSpPr>
        <p:spPr>
          <a:xfrm>
            <a:off x="8458386" y="611490"/>
            <a:ext cx="278873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i="0" dirty="0">
                <a:effectLst/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Busines</a:t>
            </a:r>
            <a:r>
              <a:rPr lang="en-US" sz="900" dirty="0"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s problem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9FDE9D3-1C18-D3EB-D013-BD29BC9D041C}"/>
              </a:ext>
            </a:extLst>
          </p:cNvPr>
          <p:cNvSpPr txBox="1"/>
          <p:nvPr/>
        </p:nvSpPr>
        <p:spPr>
          <a:xfrm>
            <a:off x="2753360" y="1025001"/>
            <a:ext cx="9133840" cy="487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000" dirty="0">
                <a:solidFill>
                  <a:schemeClr val="tx2"/>
                </a:solidFill>
                <a:latin typeface="Poppins "/>
                <a:ea typeface="Inter" panose="02000503000000020004" pitchFamily="2" charset="0"/>
              </a:rPr>
              <a:t>There are many variations of passages of Lorem Ipsum and an available, but the passage of Lorem looks reasonable. The injected humour, or non-characteristic words etc.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B78E40E-8CB9-3B7D-AA52-312EF7C44D20}"/>
              </a:ext>
            </a:extLst>
          </p:cNvPr>
          <p:cNvGrpSpPr/>
          <p:nvPr/>
        </p:nvGrpSpPr>
        <p:grpSpPr>
          <a:xfrm>
            <a:off x="6974572" y="3216526"/>
            <a:ext cx="1052386" cy="3150060"/>
            <a:chOff x="3348907" y="2933699"/>
            <a:chExt cx="1052386" cy="331152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39F843C-A9F1-EAC2-FF30-7868231BA770}"/>
                </a:ext>
              </a:extLst>
            </p:cNvPr>
            <p:cNvSpPr txBox="1"/>
            <p:nvPr/>
          </p:nvSpPr>
          <p:spPr>
            <a:xfrm rot="16200000">
              <a:off x="2418712" y="4262640"/>
              <a:ext cx="3311522" cy="6536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Many desktop publishing packages and web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now use Lorem Ipsum as their model text, and 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'lorem ipsum’  design</a:t>
              </a:r>
              <a:endParaRPr lang="en-GB" sz="900" dirty="0">
                <a:solidFill>
                  <a:schemeClr val="tx1">
                    <a:alpha val="90000"/>
                  </a:schemeClr>
                </a:solidFill>
                <a:latin typeface="Poppins "/>
                <a:ea typeface="Arimo" panose="020B0604020202020204" pitchFamily="34" charset="0"/>
                <a:cs typeface="Arimo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C37D21D-A14D-17B7-7665-515FEBB27368}"/>
                </a:ext>
              </a:extLst>
            </p:cNvPr>
            <p:cNvSpPr txBox="1"/>
            <p:nvPr/>
          </p:nvSpPr>
          <p:spPr>
            <a:xfrm rot="16200000">
              <a:off x="2333120" y="4588318"/>
              <a:ext cx="23701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i="0" spc="140" dirty="0">
                  <a:effectLst/>
                  <a:latin typeface="Inter "/>
                  <a:cs typeface="Poppins SemiBold" panose="00000700000000000000" pitchFamily="50" charset="0"/>
                </a:rPr>
                <a:t>Model Methodology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41039F2-55B7-3F0B-EF6E-7668B1AE7A29}"/>
              </a:ext>
            </a:extLst>
          </p:cNvPr>
          <p:cNvGrpSpPr/>
          <p:nvPr/>
        </p:nvGrpSpPr>
        <p:grpSpPr>
          <a:xfrm>
            <a:off x="4045727" y="5900234"/>
            <a:ext cx="1413726" cy="396134"/>
            <a:chOff x="1524171" y="5770608"/>
            <a:chExt cx="1413726" cy="396134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C8339E49-98BF-A264-25C0-B1D56A5407DE}"/>
                </a:ext>
              </a:extLst>
            </p:cNvPr>
            <p:cNvSpPr/>
            <p:nvPr/>
          </p:nvSpPr>
          <p:spPr>
            <a:xfrm>
              <a:off x="1524171" y="5770608"/>
              <a:ext cx="1413726" cy="3961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DABD77C-1CAB-739F-EA9A-AFE31A4ACE75}"/>
                </a:ext>
              </a:extLst>
            </p:cNvPr>
            <p:cNvSpPr txBox="1"/>
            <p:nvPr/>
          </p:nvSpPr>
          <p:spPr>
            <a:xfrm>
              <a:off x="1612917" y="5837870"/>
              <a:ext cx="1236236" cy="2462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dirty="0">
                  <a:latin typeface="Poppins" panose="00000500000000000000" pitchFamily="2" charset="0"/>
                  <a:cs typeface="Poppins" panose="00000500000000000000" pitchFamily="2" charset="0"/>
                </a:rPr>
                <a:t>Bank &amp; Others</a:t>
              </a: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03928B-F9C2-9857-A696-D38627A0AC2A}"/>
              </a:ext>
            </a:extLst>
          </p:cNvPr>
          <p:cNvCxnSpPr>
            <a:cxnSpLocks/>
          </p:cNvCxnSpPr>
          <p:nvPr/>
        </p:nvCxnSpPr>
        <p:spPr>
          <a:xfrm flipV="1">
            <a:off x="7301260" y="3854388"/>
            <a:ext cx="0" cy="228440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4AD045-A929-6643-FE71-4145E142DE8A}"/>
              </a:ext>
            </a:extLst>
          </p:cNvPr>
          <p:cNvCxnSpPr>
            <a:cxnSpLocks/>
          </p:cNvCxnSpPr>
          <p:nvPr/>
        </p:nvCxnSpPr>
        <p:spPr>
          <a:xfrm>
            <a:off x="8629650" y="260365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6" name="Picture 2" descr="Sticky note">
            <a:extLst>
              <a:ext uri="{FF2B5EF4-FFF2-40B4-BE49-F238E27FC236}">
                <a16:creationId xmlns:a16="http://schemas.microsoft.com/office/drawing/2014/main" id="{5B71FE91-97C4-0C74-5F50-E0CCEE779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9" y="561632"/>
            <a:ext cx="393410" cy="39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76BD4A2-E558-6E02-490C-C79468CA46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338366"/>
              </p:ext>
            </p:extLst>
          </p:nvPr>
        </p:nvGraphicFramePr>
        <p:xfrm>
          <a:off x="3798970" y="2688298"/>
          <a:ext cx="2876912" cy="24803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41644">
                  <a:extLst>
                    <a:ext uri="{9D8B030D-6E8A-4147-A177-3AD203B41FA5}">
                      <a16:colId xmlns:a16="http://schemas.microsoft.com/office/drawing/2014/main" val="100675267"/>
                    </a:ext>
                  </a:extLst>
                </a:gridCol>
                <a:gridCol w="2035268">
                  <a:extLst>
                    <a:ext uri="{9D8B030D-6E8A-4147-A177-3AD203B41FA5}">
                      <a16:colId xmlns:a16="http://schemas.microsoft.com/office/drawing/2014/main" val="4011756264"/>
                    </a:ext>
                  </a:extLst>
                </a:gridCol>
              </a:tblGrid>
              <a:tr h="1370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Categorie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Data Fiel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534402"/>
                  </a:ext>
                </a:extLst>
              </a:tr>
              <a:tr h="18415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Demographic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ncom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0856053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Occupation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99621962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g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8313055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arital Status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5360664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in-cod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88667169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Stat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12278575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Zon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77940810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Nominee Flag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29727782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Education 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71088700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Home Ownership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61886994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ity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42346873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Flag for Risky Occupation (Fire fighter, Paramilitary </a:t>
                      </a:r>
                      <a:r>
                        <a:rPr lang="en-US" sz="900" b="1" u="none" strike="noStrike" dirty="0" err="1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etc</a:t>
                      </a:r>
                      <a:r>
                        <a:rPr lang="en-US" sz="900" b="1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9651197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A428DF8-39B1-DA4F-D89B-94C2161EBE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840621"/>
              </p:ext>
            </p:extLst>
          </p:nvPr>
        </p:nvGraphicFramePr>
        <p:xfrm>
          <a:off x="902949" y="2688298"/>
          <a:ext cx="2816089" cy="3608070"/>
        </p:xfrm>
        <a:graphic>
          <a:graphicData uri="http://schemas.openxmlformats.org/drawingml/2006/table">
            <a:tbl>
              <a:tblPr firstRow="1" firstCol="1" bandRow="1"/>
              <a:tblGrid>
                <a:gridCol w="824251">
                  <a:extLst>
                    <a:ext uri="{9D8B030D-6E8A-4147-A177-3AD203B41FA5}">
                      <a16:colId xmlns:a16="http://schemas.microsoft.com/office/drawing/2014/main" val="2084575434"/>
                    </a:ext>
                  </a:extLst>
                </a:gridCol>
                <a:gridCol w="1991838">
                  <a:extLst>
                    <a:ext uri="{9D8B030D-6E8A-4147-A177-3AD203B41FA5}">
                      <a16:colId xmlns:a16="http://schemas.microsoft.com/office/drawing/2014/main" val="269922242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ategories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Data Fields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8875299"/>
                  </a:ext>
                </a:extLst>
              </a:tr>
              <a:tr h="184150"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ank </a:t>
                      </a:r>
                    </a:p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Variable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ccount Type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66147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verage Quarterly Balance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2038823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otal Credit Lines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773749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Fixed Deposit (Count, Max)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846669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ustomer Type Tag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866643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Digital Usage Flag (Internet/ Mobile Banking)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144790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elation Ship Manager Flag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908152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utual Fund Flag 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131965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onthly Balance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214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eneral Insurance Flag 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07683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ax Credit Amount 12 Mts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986517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Debit Credit Ratio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8651780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Net Relation Value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91023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KYC Flag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9835310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Vintage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078820"/>
                  </a:ext>
                </a:extLst>
              </a:tr>
              <a:tr h="18415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nsurance Related Variable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nsurance Product Flag [target]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607418"/>
                  </a:ext>
                </a:extLst>
              </a:tr>
              <a:tr h="1841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nsurance Product Category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395322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nsurance Premium Payments</a:t>
                      </a:r>
                    </a:p>
                  </a:txBody>
                  <a:tcPr marL="6350" marR="6350" marT="635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0541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8377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76F48B-393B-3C50-00DC-506D38C34083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64D8CB-B5C7-2032-FC3B-A8A69138C64F}"/>
              </a:ext>
            </a:extLst>
          </p:cNvPr>
          <p:cNvSpPr txBox="1"/>
          <p:nvPr/>
        </p:nvSpPr>
        <p:spPr>
          <a:xfrm>
            <a:off x="584838" y="561632"/>
            <a:ext cx="1339847" cy="1067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Basic	</a:t>
            </a:r>
            <a:r>
              <a:rPr lang="en-GB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 </a:t>
            </a:r>
            <a:r>
              <a:rPr lang="en-GB" sz="3600" b="1" dirty="0">
                <a:solidFill>
                  <a:schemeClr val="accent6">
                    <a:lumMod val="50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EDA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FF89257-A5B6-A5AC-2AC1-1194CA3465DF}"/>
              </a:ext>
            </a:extLst>
          </p:cNvPr>
          <p:cNvGrpSpPr/>
          <p:nvPr/>
        </p:nvGrpSpPr>
        <p:grpSpPr>
          <a:xfrm>
            <a:off x="510962" y="1962937"/>
            <a:ext cx="337785" cy="4196559"/>
            <a:chOff x="510962" y="1962937"/>
            <a:chExt cx="337785" cy="419655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4E10FEC-56C7-3322-3E47-881F4E158CAC}"/>
                </a:ext>
              </a:extLst>
            </p:cNvPr>
            <p:cNvSpPr txBox="1"/>
            <p:nvPr/>
          </p:nvSpPr>
          <p:spPr>
            <a:xfrm rot="16200000">
              <a:off x="-173170" y="2647069"/>
              <a:ext cx="1706049" cy="337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en-GB" sz="1000" b="1" u="sng" spc="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ndara" panose="020E0502030303020204" pitchFamily="34" charset="0"/>
                  <a:ea typeface="Inter Medium" panose="02000503000000020004" pitchFamily="2" charset="0"/>
                </a:rPr>
                <a:t>Variable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73A18E9-B876-D640-0555-32C5E2F94B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855" y="3875093"/>
              <a:ext cx="0" cy="2284403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65AE9AE-8150-BAAD-2291-C74F989BCF85}"/>
              </a:ext>
            </a:extLst>
          </p:cNvPr>
          <p:cNvCxnSpPr>
            <a:cxnSpLocks/>
          </p:cNvCxnSpPr>
          <p:nvPr/>
        </p:nvCxnSpPr>
        <p:spPr>
          <a:xfrm>
            <a:off x="8629650" y="95773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77D17A4-3FBE-B924-C999-7D934CAA1A3D}"/>
              </a:ext>
            </a:extLst>
          </p:cNvPr>
          <p:cNvSpPr txBox="1"/>
          <p:nvPr/>
        </p:nvSpPr>
        <p:spPr>
          <a:xfrm>
            <a:off x="8459068" y="271105"/>
            <a:ext cx="1885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Poppins Medium" panose="00000600000000000000" pitchFamily="2" charset="0"/>
                <a:ea typeface="Arimo SemiBold" panose="020B0604020202020204" pitchFamily="34" charset="0"/>
                <a:cs typeface="Poppins Medium" panose="00000600000000000000" pitchFamily="2" charset="0"/>
              </a:rPr>
              <a:t>Overview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F73E6F2-B125-22A5-F9F5-8DF7F8F213C4}"/>
              </a:ext>
            </a:extLst>
          </p:cNvPr>
          <p:cNvSpPr txBox="1"/>
          <p:nvPr/>
        </p:nvSpPr>
        <p:spPr>
          <a:xfrm>
            <a:off x="8458386" y="611490"/>
            <a:ext cx="278873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i="0" dirty="0">
                <a:effectLst/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Busines</a:t>
            </a:r>
            <a:r>
              <a:rPr lang="en-US" sz="900" dirty="0"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s problem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9FDE9D3-1C18-D3EB-D013-BD29BC9D041C}"/>
              </a:ext>
            </a:extLst>
          </p:cNvPr>
          <p:cNvSpPr txBox="1"/>
          <p:nvPr/>
        </p:nvSpPr>
        <p:spPr>
          <a:xfrm>
            <a:off x="2336800" y="1126666"/>
            <a:ext cx="9631680" cy="487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000" dirty="0">
                <a:solidFill>
                  <a:schemeClr val="tx2"/>
                </a:solidFill>
                <a:latin typeface="Poppins "/>
                <a:ea typeface="Inter" panose="02000503000000020004" pitchFamily="2" charset="0"/>
              </a:rPr>
              <a:t>There are many variations of passages of Lorem Ipsum and an available, but the passage of Lorem looks reasonable. The injected humour, or non-characteristic words etc.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B78E40E-8CB9-3B7D-AA52-312EF7C44D20}"/>
              </a:ext>
            </a:extLst>
          </p:cNvPr>
          <p:cNvGrpSpPr/>
          <p:nvPr/>
        </p:nvGrpSpPr>
        <p:grpSpPr>
          <a:xfrm>
            <a:off x="6780912" y="3237230"/>
            <a:ext cx="1052386" cy="3150060"/>
            <a:chOff x="3348907" y="2933699"/>
            <a:chExt cx="1052386" cy="331152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39F843C-A9F1-EAC2-FF30-7868231BA770}"/>
                </a:ext>
              </a:extLst>
            </p:cNvPr>
            <p:cNvSpPr txBox="1"/>
            <p:nvPr/>
          </p:nvSpPr>
          <p:spPr>
            <a:xfrm rot="16200000">
              <a:off x="2418712" y="4262640"/>
              <a:ext cx="3311522" cy="6536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Many desktop publishing packages and web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now use Lorem Ipsum as their model text, and 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'lorem ipsum’  design</a:t>
              </a:r>
              <a:endParaRPr lang="en-GB" sz="900" dirty="0">
                <a:solidFill>
                  <a:schemeClr val="tx1">
                    <a:alpha val="90000"/>
                  </a:schemeClr>
                </a:solidFill>
                <a:latin typeface="Poppins "/>
                <a:ea typeface="Arimo" panose="020B0604020202020204" pitchFamily="34" charset="0"/>
                <a:cs typeface="Arimo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C37D21D-A14D-17B7-7665-515FEBB27368}"/>
                </a:ext>
              </a:extLst>
            </p:cNvPr>
            <p:cNvSpPr txBox="1"/>
            <p:nvPr/>
          </p:nvSpPr>
          <p:spPr>
            <a:xfrm rot="16200000">
              <a:off x="2333120" y="4588318"/>
              <a:ext cx="23701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i="0" spc="140" dirty="0">
                  <a:effectLst/>
                  <a:latin typeface="Inter "/>
                  <a:cs typeface="Poppins SemiBold" panose="00000700000000000000" pitchFamily="50" charset="0"/>
                </a:rPr>
                <a:t>Model Methodology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94FD04E-677A-0546-E874-DA3CE1EBCE15}"/>
              </a:ext>
            </a:extLst>
          </p:cNvPr>
          <p:cNvSpPr txBox="1"/>
          <p:nvPr/>
        </p:nvSpPr>
        <p:spPr>
          <a:xfrm>
            <a:off x="958719" y="2976489"/>
            <a:ext cx="4659542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000" dirty="0">
                <a:solidFill>
                  <a:schemeClr val="tx2"/>
                </a:solidFill>
                <a:latin typeface="Poppins "/>
                <a:ea typeface="Inter" panose="02000503000000020004" pitchFamily="2" charset="0"/>
              </a:rPr>
              <a:t>There are many variations of passages of Lorem Ipsum and an available, but the passage of Lorem looks reasonable. The injected humour, or non-characteristic words etc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03928B-F9C2-9857-A696-D38627A0AC2A}"/>
              </a:ext>
            </a:extLst>
          </p:cNvPr>
          <p:cNvCxnSpPr>
            <a:cxnSpLocks/>
          </p:cNvCxnSpPr>
          <p:nvPr/>
        </p:nvCxnSpPr>
        <p:spPr>
          <a:xfrm flipV="1">
            <a:off x="7107600" y="3875092"/>
            <a:ext cx="0" cy="228440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C3D30F-E02C-9ADA-F344-2FA83044B04A}"/>
              </a:ext>
            </a:extLst>
          </p:cNvPr>
          <p:cNvCxnSpPr>
            <a:cxnSpLocks/>
          </p:cNvCxnSpPr>
          <p:nvPr/>
        </p:nvCxnSpPr>
        <p:spPr>
          <a:xfrm flipV="1">
            <a:off x="7107600" y="3922312"/>
            <a:ext cx="0" cy="228440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4AD045-A929-6643-FE71-4145E142DE8A}"/>
              </a:ext>
            </a:extLst>
          </p:cNvPr>
          <p:cNvCxnSpPr>
            <a:cxnSpLocks/>
          </p:cNvCxnSpPr>
          <p:nvPr/>
        </p:nvCxnSpPr>
        <p:spPr>
          <a:xfrm>
            <a:off x="8629650" y="236997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2" descr="Adventurer ">
            <a:extLst>
              <a:ext uri="{FF2B5EF4-FFF2-40B4-BE49-F238E27FC236}">
                <a16:creationId xmlns:a16="http://schemas.microsoft.com/office/drawing/2014/main" id="{E0DC8389-FD7D-7206-480D-C70E0A8AA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62" y="561632"/>
            <a:ext cx="393192" cy="39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3F09E4F-7BB0-A09E-9FEA-6AAEF4192F54}"/>
              </a:ext>
            </a:extLst>
          </p:cNvPr>
          <p:cNvGrpSpPr/>
          <p:nvPr/>
        </p:nvGrpSpPr>
        <p:grpSpPr>
          <a:xfrm>
            <a:off x="4045727" y="5900234"/>
            <a:ext cx="1413726" cy="396134"/>
            <a:chOff x="1524171" y="5770608"/>
            <a:chExt cx="1413726" cy="396134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8F08A69C-F7AA-137A-5183-37F0A286560C}"/>
                </a:ext>
              </a:extLst>
            </p:cNvPr>
            <p:cNvSpPr/>
            <p:nvPr/>
          </p:nvSpPr>
          <p:spPr>
            <a:xfrm>
              <a:off x="1524171" y="5770608"/>
              <a:ext cx="1413726" cy="3961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8C29389-49E6-B3B5-7269-41F02A4BF536}"/>
                </a:ext>
              </a:extLst>
            </p:cNvPr>
            <p:cNvSpPr txBox="1"/>
            <p:nvPr/>
          </p:nvSpPr>
          <p:spPr>
            <a:xfrm>
              <a:off x="1612917" y="5837870"/>
              <a:ext cx="1236236" cy="2462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dirty="0">
                  <a:latin typeface="Poppins" panose="00000500000000000000" pitchFamily="2" charset="0"/>
                  <a:cs typeface="Poppins" panose="00000500000000000000" pitchFamily="2" charset="0"/>
                </a:rPr>
                <a:t>Bank &amp; Ot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4357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76F48B-393B-3C50-00DC-506D38C34083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64D8CB-B5C7-2032-FC3B-A8A69138C64F}"/>
              </a:ext>
            </a:extLst>
          </p:cNvPr>
          <p:cNvSpPr txBox="1"/>
          <p:nvPr/>
        </p:nvSpPr>
        <p:spPr>
          <a:xfrm>
            <a:off x="584838" y="561632"/>
            <a:ext cx="1670682" cy="1067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Model	</a:t>
            </a:r>
            <a:r>
              <a:rPr lang="en-GB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 </a:t>
            </a:r>
            <a:r>
              <a:rPr lang="en-GB" sz="3600" b="1" dirty="0">
                <a:solidFill>
                  <a:schemeClr val="accent6">
                    <a:lumMod val="50000"/>
                  </a:schemeClr>
                </a:solidFill>
                <a:latin typeface="Candara" panose="020E0502030303020204" pitchFamily="34" charset="0"/>
                <a:ea typeface="Inter Medium" panose="02000503000000020004" pitchFamily="2" charset="0"/>
              </a:rPr>
              <a:t>Result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FF89257-A5B6-A5AC-2AC1-1194CA3465DF}"/>
              </a:ext>
            </a:extLst>
          </p:cNvPr>
          <p:cNvGrpSpPr/>
          <p:nvPr/>
        </p:nvGrpSpPr>
        <p:grpSpPr>
          <a:xfrm>
            <a:off x="510962" y="1962937"/>
            <a:ext cx="337785" cy="4196559"/>
            <a:chOff x="510962" y="1962937"/>
            <a:chExt cx="337785" cy="419655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4E10FEC-56C7-3322-3E47-881F4E158CAC}"/>
                </a:ext>
              </a:extLst>
            </p:cNvPr>
            <p:cNvSpPr txBox="1"/>
            <p:nvPr/>
          </p:nvSpPr>
          <p:spPr>
            <a:xfrm rot="16200000">
              <a:off x="-173170" y="2647069"/>
              <a:ext cx="1706049" cy="3377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en-GB" sz="1000" b="1" u="sng" spc="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ndara" panose="020E0502030303020204" pitchFamily="34" charset="0"/>
                  <a:ea typeface="Inter Medium" panose="02000503000000020004" pitchFamily="2" charset="0"/>
                </a:rPr>
                <a:t>Variable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73A18E9-B876-D640-0555-32C5E2F94B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855" y="3875093"/>
              <a:ext cx="0" cy="2284403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65AE9AE-8150-BAAD-2291-C74F989BCF85}"/>
              </a:ext>
            </a:extLst>
          </p:cNvPr>
          <p:cNvCxnSpPr>
            <a:cxnSpLocks/>
          </p:cNvCxnSpPr>
          <p:nvPr/>
        </p:nvCxnSpPr>
        <p:spPr>
          <a:xfrm>
            <a:off x="8629650" y="95773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B77D17A4-3FBE-B924-C999-7D934CAA1A3D}"/>
              </a:ext>
            </a:extLst>
          </p:cNvPr>
          <p:cNvSpPr txBox="1"/>
          <p:nvPr/>
        </p:nvSpPr>
        <p:spPr>
          <a:xfrm>
            <a:off x="8459068" y="271105"/>
            <a:ext cx="1885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Poppins Medium" panose="00000600000000000000" pitchFamily="2" charset="0"/>
                <a:ea typeface="Arimo SemiBold" panose="020B0604020202020204" pitchFamily="34" charset="0"/>
                <a:cs typeface="Poppins Medium" panose="00000600000000000000" pitchFamily="2" charset="0"/>
              </a:rPr>
              <a:t>Overview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F73E6F2-B125-22A5-F9F5-8DF7F8F213C4}"/>
              </a:ext>
            </a:extLst>
          </p:cNvPr>
          <p:cNvSpPr txBox="1"/>
          <p:nvPr/>
        </p:nvSpPr>
        <p:spPr>
          <a:xfrm>
            <a:off x="8458386" y="611490"/>
            <a:ext cx="278873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i="0" dirty="0">
                <a:effectLst/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Busines</a:t>
            </a:r>
            <a:r>
              <a:rPr lang="en-US" sz="900" dirty="0">
                <a:latin typeface="Poppins "/>
                <a:ea typeface="Arimo Medium" panose="020B0604020202020204" pitchFamily="34" charset="0"/>
                <a:cs typeface="Poppins" panose="00000500000000000000" pitchFamily="2" charset="0"/>
              </a:rPr>
              <a:t>s problem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9FDE9D3-1C18-D3EB-D013-BD29BC9D041C}"/>
              </a:ext>
            </a:extLst>
          </p:cNvPr>
          <p:cNvSpPr txBox="1"/>
          <p:nvPr/>
        </p:nvSpPr>
        <p:spPr>
          <a:xfrm>
            <a:off x="2336800" y="1126666"/>
            <a:ext cx="9631680" cy="487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000" dirty="0">
                <a:solidFill>
                  <a:schemeClr val="tx2"/>
                </a:solidFill>
                <a:latin typeface="Poppins "/>
                <a:ea typeface="Inter" panose="02000503000000020004" pitchFamily="2" charset="0"/>
              </a:rPr>
              <a:t>There are many variations of passages of Lorem Ipsum and an available, but the passage of Lorem looks reasonable. The injected humour, or non-characteristic words etc.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B78E40E-8CB9-3B7D-AA52-312EF7C44D20}"/>
              </a:ext>
            </a:extLst>
          </p:cNvPr>
          <p:cNvGrpSpPr/>
          <p:nvPr/>
        </p:nvGrpSpPr>
        <p:grpSpPr>
          <a:xfrm>
            <a:off x="6780912" y="3237230"/>
            <a:ext cx="1052386" cy="3150060"/>
            <a:chOff x="3348907" y="2933699"/>
            <a:chExt cx="1052386" cy="331152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39F843C-A9F1-EAC2-FF30-7868231BA770}"/>
                </a:ext>
              </a:extLst>
            </p:cNvPr>
            <p:cNvSpPr txBox="1"/>
            <p:nvPr/>
          </p:nvSpPr>
          <p:spPr>
            <a:xfrm rot="16200000">
              <a:off x="2418712" y="4262640"/>
              <a:ext cx="3311522" cy="6536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Many desktop publishing packages and web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now use Lorem Ipsum as their model text, and </a:t>
              </a:r>
            </a:p>
            <a:p>
              <a:pPr>
                <a:lnSpc>
                  <a:spcPts val="1500"/>
                </a:lnSpc>
              </a:pPr>
              <a:r>
                <a:rPr lang="en-GB" sz="900" b="0" i="0" dirty="0">
                  <a:solidFill>
                    <a:schemeClr val="tx1">
                      <a:alpha val="90000"/>
                    </a:schemeClr>
                  </a:solidFill>
                  <a:effectLst/>
                  <a:latin typeface="Poppins "/>
                  <a:ea typeface="Arimo" panose="020B0604020202020204" pitchFamily="34" charset="0"/>
                  <a:cs typeface="Arimo" panose="020B0604020202020204" pitchFamily="34" charset="0"/>
                </a:rPr>
                <a:t>'lorem ipsum’  design</a:t>
              </a:r>
              <a:endParaRPr lang="en-GB" sz="900" dirty="0">
                <a:solidFill>
                  <a:schemeClr val="tx1">
                    <a:alpha val="90000"/>
                  </a:schemeClr>
                </a:solidFill>
                <a:latin typeface="Poppins "/>
                <a:ea typeface="Arimo" panose="020B0604020202020204" pitchFamily="34" charset="0"/>
                <a:cs typeface="Arimo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C37D21D-A14D-17B7-7665-515FEBB27368}"/>
                </a:ext>
              </a:extLst>
            </p:cNvPr>
            <p:cNvSpPr txBox="1"/>
            <p:nvPr/>
          </p:nvSpPr>
          <p:spPr>
            <a:xfrm rot="16200000">
              <a:off x="2333120" y="4588318"/>
              <a:ext cx="23701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i="0" spc="140" dirty="0">
                  <a:effectLst/>
                  <a:latin typeface="Inter "/>
                  <a:cs typeface="Poppins SemiBold" panose="00000700000000000000" pitchFamily="50" charset="0"/>
                </a:rPr>
                <a:t>Model Methodology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94FD04E-677A-0546-E874-DA3CE1EBCE15}"/>
              </a:ext>
            </a:extLst>
          </p:cNvPr>
          <p:cNvSpPr txBox="1"/>
          <p:nvPr/>
        </p:nvSpPr>
        <p:spPr>
          <a:xfrm>
            <a:off x="958719" y="2976489"/>
            <a:ext cx="4659542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000" dirty="0">
                <a:solidFill>
                  <a:schemeClr val="tx2"/>
                </a:solidFill>
                <a:latin typeface="Poppins "/>
                <a:ea typeface="Inter" panose="02000503000000020004" pitchFamily="2" charset="0"/>
              </a:rPr>
              <a:t>There are many variations of passages of Lorem Ipsum and an available, but the passage of Lorem looks reasonable. The injected humour, or non-characteristic words etc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03928B-F9C2-9857-A696-D38627A0AC2A}"/>
              </a:ext>
            </a:extLst>
          </p:cNvPr>
          <p:cNvCxnSpPr>
            <a:cxnSpLocks/>
          </p:cNvCxnSpPr>
          <p:nvPr/>
        </p:nvCxnSpPr>
        <p:spPr>
          <a:xfrm flipV="1">
            <a:off x="7107600" y="3875092"/>
            <a:ext cx="0" cy="228440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C3D30F-E02C-9ADA-F344-2FA83044B04A}"/>
              </a:ext>
            </a:extLst>
          </p:cNvPr>
          <p:cNvCxnSpPr>
            <a:cxnSpLocks/>
          </p:cNvCxnSpPr>
          <p:nvPr/>
        </p:nvCxnSpPr>
        <p:spPr>
          <a:xfrm flipV="1">
            <a:off x="7107600" y="3922312"/>
            <a:ext cx="0" cy="228440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4AD045-A929-6643-FE71-4145E142DE8A}"/>
              </a:ext>
            </a:extLst>
          </p:cNvPr>
          <p:cNvCxnSpPr>
            <a:cxnSpLocks/>
          </p:cNvCxnSpPr>
          <p:nvPr/>
        </p:nvCxnSpPr>
        <p:spPr>
          <a:xfrm>
            <a:off x="8629650" y="2369978"/>
            <a:ext cx="3562350" cy="0"/>
          </a:xfrm>
          <a:prstGeom prst="line">
            <a:avLst/>
          </a:prstGeom>
          <a:ln w="22225">
            <a:prstDash val="sysDash"/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2" descr="Adventurer ">
            <a:extLst>
              <a:ext uri="{FF2B5EF4-FFF2-40B4-BE49-F238E27FC236}">
                <a16:creationId xmlns:a16="http://schemas.microsoft.com/office/drawing/2014/main" id="{E0DC8389-FD7D-7206-480D-C70E0A8AA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62" y="561632"/>
            <a:ext cx="393192" cy="39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E1E28248-1DFC-25BA-6B44-405F86B694EE}"/>
              </a:ext>
            </a:extLst>
          </p:cNvPr>
          <p:cNvGrpSpPr/>
          <p:nvPr/>
        </p:nvGrpSpPr>
        <p:grpSpPr>
          <a:xfrm>
            <a:off x="4045727" y="5900234"/>
            <a:ext cx="1413726" cy="396134"/>
            <a:chOff x="1524171" y="5770608"/>
            <a:chExt cx="1413726" cy="396134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8C75ABD2-2CD6-2473-E9C5-38A454DD4238}"/>
                </a:ext>
              </a:extLst>
            </p:cNvPr>
            <p:cNvSpPr/>
            <p:nvPr/>
          </p:nvSpPr>
          <p:spPr>
            <a:xfrm>
              <a:off x="1524171" y="5770608"/>
              <a:ext cx="1413726" cy="3961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BE18875-DB3C-4EF7-3617-81F646D1753F}"/>
                </a:ext>
              </a:extLst>
            </p:cNvPr>
            <p:cNvSpPr txBox="1"/>
            <p:nvPr/>
          </p:nvSpPr>
          <p:spPr>
            <a:xfrm>
              <a:off x="1612917" y="5837870"/>
              <a:ext cx="1236236" cy="2462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dirty="0">
                  <a:latin typeface="Poppins" panose="00000500000000000000" pitchFamily="2" charset="0"/>
                  <a:cs typeface="Poppins" panose="00000500000000000000" pitchFamily="2" charset="0"/>
                </a:rPr>
                <a:t>Bank &amp; Oth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64389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Picture Placeholder 7">
            <a:extLst>
              <a:ext uri="{FF2B5EF4-FFF2-40B4-BE49-F238E27FC236}">
                <a16:creationId xmlns:a16="http://schemas.microsoft.com/office/drawing/2014/main" id="{780CA727-D35B-66DC-6D9B-FA0A32FC18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350" b="9350"/>
          <a:stretch>
            <a:fillRect/>
          </a:stretch>
        </p:blipFill>
        <p:spPr>
          <a:xfrm>
            <a:off x="0" y="0"/>
            <a:ext cx="4744720" cy="6855611"/>
          </a:xfrm>
          <a:custGeom>
            <a:avLst/>
            <a:gdLst>
              <a:gd name="connsiteX0" fmla="*/ 0 w 3544394"/>
              <a:gd name="connsiteY0" fmla="*/ 0 h 5121269"/>
              <a:gd name="connsiteX1" fmla="*/ 3544394 w 3544394"/>
              <a:gd name="connsiteY1" fmla="*/ 0 h 5121269"/>
              <a:gd name="connsiteX2" fmla="*/ 3544394 w 3544394"/>
              <a:gd name="connsiteY2" fmla="*/ 5121269 h 5121269"/>
              <a:gd name="connsiteX3" fmla="*/ 0 w 3544394"/>
              <a:gd name="connsiteY3" fmla="*/ 5121269 h 5121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44394" h="5121269">
                <a:moveTo>
                  <a:pt x="0" y="0"/>
                </a:moveTo>
                <a:lnTo>
                  <a:pt x="3544394" y="0"/>
                </a:lnTo>
                <a:lnTo>
                  <a:pt x="3544394" y="5121269"/>
                </a:lnTo>
                <a:lnTo>
                  <a:pt x="0" y="5121269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</p:pic>
      <p:sp>
        <p:nvSpPr>
          <p:cNvPr id="204" name="Rectangle 203">
            <a:extLst>
              <a:ext uri="{FF2B5EF4-FFF2-40B4-BE49-F238E27FC236}">
                <a16:creationId xmlns:a16="http://schemas.microsoft.com/office/drawing/2014/main" id="{549AA792-E632-A723-F602-7BA519278DCD}"/>
              </a:ext>
            </a:extLst>
          </p:cNvPr>
          <p:cNvSpPr/>
          <p:nvPr/>
        </p:nvSpPr>
        <p:spPr>
          <a:xfrm>
            <a:off x="248478" y="218661"/>
            <a:ext cx="11638722" cy="6430617"/>
          </a:xfrm>
          <a:prstGeom prst="rect">
            <a:avLst/>
          </a:prstGeom>
          <a:solidFill>
            <a:schemeClr val="accent5">
              <a:lumMod val="20000"/>
              <a:lumOff val="80000"/>
              <a:alpha val="12000"/>
            </a:schemeClr>
          </a:solidFill>
          <a:ln w="190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E99EF802-0D92-9B65-DB79-551F8629D291}"/>
              </a:ext>
            </a:extLst>
          </p:cNvPr>
          <p:cNvSpPr txBox="1"/>
          <p:nvPr/>
        </p:nvSpPr>
        <p:spPr>
          <a:xfrm>
            <a:off x="4867864" y="2988708"/>
            <a:ext cx="2954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Poppins Medium" panose="00000600000000000000" pitchFamily="2" charset="0"/>
                <a:ea typeface="Arimo Medium" panose="020B0604020202020204" pitchFamily="34" charset="0"/>
                <a:cs typeface="Poppins Medium" panose="00000600000000000000" pitchFamily="2" charset="0"/>
              </a:rPr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3488202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1B6BF"/>
      </a:accent1>
      <a:accent2>
        <a:srgbClr val="DFC7AD"/>
      </a:accent2>
      <a:accent3>
        <a:srgbClr val="C1C0B8"/>
      </a:accent3>
      <a:accent4>
        <a:srgbClr val="837F8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infografis">
      <a:dk1>
        <a:srgbClr val="000000"/>
      </a:dk1>
      <a:lt1>
        <a:srgbClr val="FFFFFF"/>
      </a:lt1>
      <a:dk2>
        <a:srgbClr val="2D3847"/>
      </a:dk2>
      <a:lt2>
        <a:srgbClr val="E7E6E6"/>
      </a:lt2>
      <a:accent1>
        <a:srgbClr val="439BF7"/>
      </a:accent1>
      <a:accent2>
        <a:srgbClr val="4EE2C2"/>
      </a:accent2>
      <a:accent3>
        <a:srgbClr val="FC6C8E"/>
      </a:accent3>
      <a:accent4>
        <a:srgbClr val="F6AF2E"/>
      </a:accent4>
      <a:accent5>
        <a:srgbClr val="F67A2E"/>
      </a:accent5>
      <a:accent6>
        <a:srgbClr val="C297E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0</TotalTime>
  <Words>496</Words>
  <Application>Microsoft Office PowerPoint</Application>
  <PresentationFormat>Widescreen</PresentationFormat>
  <Paragraphs>9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4" baseType="lpstr">
      <vt:lpstr>__fkGroteskNeue_598ab8</vt:lpstr>
      <vt:lpstr>Aptos</vt:lpstr>
      <vt:lpstr>Arial</vt:lpstr>
      <vt:lpstr>Calibri</vt:lpstr>
      <vt:lpstr>Calibri Light</vt:lpstr>
      <vt:lpstr>Candara</vt:lpstr>
      <vt:lpstr>Candara Light</vt:lpstr>
      <vt:lpstr>Inter </vt:lpstr>
      <vt:lpstr>Inter SemiBold</vt:lpstr>
      <vt:lpstr>Photograph Signature</vt:lpstr>
      <vt:lpstr>Poppins</vt:lpstr>
      <vt:lpstr>Poppins </vt:lpstr>
      <vt:lpstr>Poppins Medium</vt:lpstr>
      <vt:lpstr>Segoe UI Historic</vt:lpstr>
      <vt:lpstr>Segoe UI Variable Small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Dwaipayan Dutta</cp:lastModifiedBy>
  <cp:revision>9</cp:revision>
  <dcterms:created xsi:type="dcterms:W3CDTF">2024-05-26T13:52:00Z</dcterms:created>
  <dcterms:modified xsi:type="dcterms:W3CDTF">2024-09-08T17:06:03Z</dcterms:modified>
</cp:coreProperties>
</file>